
<file path=[Content_Types].xml><?xml version="1.0" encoding="utf-8"?>
<Types xmlns="http://schemas.openxmlformats.org/package/2006/content-types">
  <Override PartName="/ppt/slides/slide47.xml" ContentType="application/vnd.openxmlformats-officedocument.presentationml.slide+xml"/>
  <Override PartName="/ppt/slides/slide58.xml" ContentType="application/vnd.openxmlformats-officedocument.presentationml.slide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slides/slide36.xml" ContentType="application/vnd.openxmlformats-officedocument.presentationml.slide+xml"/>
  <Override PartName="/ppt/slides/slide25.xml" ContentType="application/vnd.openxmlformats-officedocument.presentationml.slide+xml"/>
  <Override PartName="/ppt/slides/slide72.xml" ContentType="application/vnd.openxmlformats-officedocument.presentationml.slid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5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charts/chart13.xml" ContentType="application/vnd.openxmlformats-officedocument.drawingml.chart+xml"/>
  <Override PartName="/ppt/tags/tag38.xml" ContentType="application/vnd.openxmlformats-officedocument.presentationml.tags+xml"/>
  <Override PartName="/ppt/slides/slide1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27.xml" ContentType="application/vnd.openxmlformats-officedocument.presentationml.tags+xml"/>
  <Override PartName="/ppt/tags/tag45.xml" ContentType="application/vnd.openxmlformats-officedocument.presentationml.tags+xml"/>
  <Override PartName="/ppt/tags/tag63.xml" ContentType="application/vnd.openxmlformats-officedocument.presentationml.tags+xml"/>
  <Override PartName="/ppt/tags/tag74.xml" ContentType="application/vnd.openxmlformats-officedocument.presentationml.tags+xml"/>
  <Override PartName="/ppt/charts/chart7.xml" ContentType="application/vnd.openxmlformats-officedocument.drawingml.chart+xml"/>
  <Override PartName="/ppt/tags/tag34.xml" ContentType="application/vnd.openxmlformats-officedocument.presentationml.tags+xml"/>
  <Override PartName="/ppt/tags/tag52.xml" ContentType="application/vnd.openxmlformats-officedocument.presentationml.tags+xml"/>
  <Default Extension="xlsx" ContentType="application/vnd.openxmlformats-officedocument.spreadsheetml.sheet"/>
  <Override PartName="/ppt/charts/chart3.xml" ContentType="application/vnd.openxmlformats-officedocument.drawingml.char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41.xml" ContentType="application/vnd.openxmlformats-officedocument.presentationml.tags+xml"/>
  <Override PartName="/ppt/tags/tag70.xml" ContentType="application/vnd.openxmlformats-officedocument.presentationml.tags+xml"/>
  <Override PartName="/ppt/slides/slide9.xml" ContentType="application/vnd.openxmlformats-officedocument.presentationml.slide+xml"/>
  <Override PartName="/ppt/slides/slide5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48.xml" ContentType="application/vnd.openxmlformats-officedocument.presentationml.slide+xml"/>
  <Override PartName="/ppt/slides/slide66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3.xml" ContentType="application/vnd.openxmlformats-officedocument.presentationml.notesSlide+xml"/>
  <Override PartName="/ppt/drawings/drawing3.xml" ContentType="application/vnd.openxmlformats-officedocument.drawingml.chartshapes+xml"/>
  <Override PartName="/ppt/slides/slide26.xml" ContentType="application/vnd.openxmlformats-officedocument.presentationml.slide+xml"/>
  <Override PartName="/ppt/slides/slide37.xml" ContentType="application/vnd.openxmlformats-officedocument.presentationml.slide+xml"/>
  <Override PartName="/ppt/slides/slide55.xml" ContentType="application/vnd.openxmlformats-officedocument.presentationml.slide+xml"/>
  <Override PartName="/ppt/slides/slide73.xml" ContentType="application/vnd.openxmlformats-officedocument.presentationml.slide+xml"/>
  <Override PartName="/ppt/presProps.xml" ContentType="application/vnd.openxmlformats-officedocument.presentationml.presProp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33.xml" ContentType="application/vnd.openxmlformats-officedocument.presentationml.slide+xml"/>
  <Override PartName="/ppt/slides/slide44.xml" ContentType="application/vnd.openxmlformats-officedocument.presentationml.slide+xml"/>
  <Override PartName="/ppt/slides/slide62.xml" ContentType="application/vnd.openxmlformats-officedocument.presentationml.slide+xml"/>
  <Override PartName="/ppt/slideLayouts/slideLayout3.xml" ContentType="application/vnd.openxmlformats-officedocument.presentationml.slideLayout+xml"/>
  <Default Extension="emf" ContentType="image/x-emf"/>
  <Override PartName="/ppt/tags/tag39.xml" ContentType="application/vnd.openxmlformats-officedocument.presentationml.tags+xml"/>
  <Override PartName="/ppt/tags/tag68.xml" ContentType="application/vnd.openxmlformats-officedocument.presentationml.tags+xml"/>
  <Override PartName="/ppt/presentation.xml" ContentType="application/vnd.openxmlformats-officedocument.presentationml.presentation.main+xml"/>
  <Override PartName="/ppt/slides/slide22.xml" ContentType="application/vnd.openxmlformats-officedocument.presentationml.slide+xml"/>
  <Override PartName="/ppt/slides/slide51.xml" ContentType="application/vnd.openxmlformats-officedocument.presentationml.slide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charts/chart14.xml" ContentType="application/vnd.openxmlformats-officedocument.drawingml.chart+xml"/>
  <Override PartName="/ppt/tags/tag57.xml" ContentType="application/vnd.openxmlformats-officedocument.presentationml.tags+xml"/>
  <Override PartName="/ppt/tags/tag75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40.xml" ContentType="application/vnd.openxmlformats-officedocument.presentationml.slide+xml"/>
  <Override PartName="/ppt/charts/chart8.xml" ContentType="application/vnd.openxmlformats-officedocument.drawingml.chart+xml"/>
  <Override PartName="/ppt/tags/tag17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64.xml" ContentType="application/vnd.openxmlformats-officedocument.presentationml.tags+xml"/>
  <Override PartName="/ppt/slideLayouts/slideLayout10.xml" ContentType="application/vnd.openxmlformats-officedocument.presentationml.slideLayout+xml"/>
  <Default Extension="gif" ContentType="image/gif"/>
  <Default Extension="vml" ContentType="application/vnd.openxmlformats-officedocument.vmlDrawing"/>
  <Override PartName="/ppt/charts/chart10.xml" ContentType="application/vnd.openxmlformats-officedocument.drawingml.chart+xml"/>
  <Override PartName="/ppt/tags/tag24.xml" ContentType="application/vnd.openxmlformats-officedocument.presentationml.tags+xml"/>
  <Override PartName="/ppt/tags/tag53.xml" ContentType="application/vnd.openxmlformats-officedocument.presentationml.tags+xml"/>
  <Override PartName="/ppt/tags/tag71.xml" ContentType="application/vnd.openxmlformats-officedocument.presentationml.tags+xml"/>
  <Override PartName="/ppt/charts/chart4.xml" ContentType="application/vnd.openxmlformats-officedocument.drawingml.chart+xml"/>
  <Override PartName="/ppt/tags/tag13.xml" ContentType="application/vnd.openxmlformats-officedocument.presentationml.tags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tags/tag60.xml" ContentType="application/vnd.openxmlformats-officedocument.presentationml.tags+xml"/>
  <Override PartName="/ppt/slides/slide49.xml" ContentType="application/vnd.openxmlformats-officedocument.presentationml.slide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s/slide38.xml" ContentType="application/vnd.openxmlformats-officedocument.presentationml.slide+xml"/>
  <Override PartName="/ppt/slides/slide56.xml" ContentType="application/vnd.openxmlformats-officedocument.presentationml.slide+xml"/>
  <Override PartName="/ppt/slides/slide67.xml" ContentType="application/vnd.openxmlformats-officedocument.presentationml.slide+xml"/>
  <Override PartName="/ppt/slideLayouts/slideLayout8.xml" ContentType="application/vnd.openxmlformats-officedocument.presentationml.slideLayout+xml"/>
  <Override PartName="/ppt/drawings/drawing4.xml" ContentType="application/vnd.openxmlformats-officedocument.drawingml.chartshapes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s/slide45.xml" ContentType="application/vnd.openxmlformats-officedocument.presentationml.slide+xml"/>
  <Override PartName="/ppt/slides/slide74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34.xml" ContentType="application/vnd.openxmlformats-officedocument.presentationml.slide+xml"/>
  <Override PartName="/ppt/slides/slide52.xml" ContentType="application/vnd.openxmlformats-officedocument.presentationml.slide+xml"/>
  <Override PartName="/ppt/slides/slide63.xml" ContentType="application/vnd.openxmlformats-officedocument.presentationml.slide+xml"/>
  <Default Extension="xls" ContentType="application/vnd.ms-excel"/>
  <Override PartName="/ppt/tags/tag2.xml" ContentType="application/vnd.openxmlformats-officedocument.presentationml.tags+xml"/>
  <Override PartName="/ppt/tags/tag58.xml" ContentType="application/vnd.openxmlformats-officedocument.presentationml.tags+xml"/>
  <Override PartName="/ppt/tags/tag69.xml" ContentType="application/vnd.openxmlformats-officedocument.presentationml.tags+xml"/>
  <Default Extension="rels" ContentType="application/vnd.openxmlformats-package.relationships+xml"/>
  <Override PartName="/ppt/slides/slide23.xml" ContentType="application/vnd.openxmlformats-officedocument.presentationml.slide+xml"/>
  <Override PartName="/ppt/slides/slide41.xml" ContentType="application/vnd.openxmlformats-officedocument.presentationml.slide+xml"/>
  <Override PartName="/ppt/slides/slide70.xml" ContentType="application/vnd.openxmlformats-officedocument.presentationml.slide+xml"/>
  <Override PartName="/ppt/tags/tag29.xml" ContentType="application/vnd.openxmlformats-officedocument.presentationml.tags+xml"/>
  <Override PartName="/ppt/tags/tag47.xml" ContentType="application/vnd.openxmlformats-officedocument.presentationml.tags+xml"/>
  <Override PartName="/ppt/charts/chart15.xml" ContentType="application/vnd.openxmlformats-officedocument.drawingml.chart+xml"/>
  <Override PartName="/ppt/tags/tag76.xml" ContentType="application/vnd.openxmlformats-officedocument.presentationml.tags+xml"/>
  <Override PartName="/ppt/slides/slide12.xml" ContentType="application/vnd.openxmlformats-officedocument.presentationml.slide+xml"/>
  <Override PartName="/ppt/slides/slide30.xml" ContentType="application/vnd.openxmlformats-officedocument.presentationml.slide+xml"/>
  <Override PartName="/ppt/slideLayouts/slideLayout11.xml" ContentType="application/vnd.openxmlformats-officedocument.presentationml.slideLayout+xml"/>
  <Override PartName="/ppt/charts/chart9.xml" ContentType="application/vnd.openxmlformats-officedocument.drawingml.chart+xml"/>
  <Override PartName="/ppt/charts/chart11.xml" ContentType="application/vnd.openxmlformats-officedocument.drawingml.chart+xml"/>
  <Override PartName="/ppt/tags/tag18.xml" ContentType="application/vnd.openxmlformats-officedocument.presentationml.tags+xml"/>
  <Override PartName="/ppt/tags/tag36.xml" ContentType="application/vnd.openxmlformats-officedocument.presentationml.tags+xml"/>
  <Override PartName="/ppt/tags/tag54.xml" ContentType="application/vnd.openxmlformats-officedocument.presentationml.tags+xml"/>
  <Override PartName="/ppt/tags/tag65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43.xml" ContentType="application/vnd.openxmlformats-officedocument.presentationml.tags+xml"/>
  <Override PartName="/ppt/tags/tag61.xml" ContentType="application/vnd.openxmlformats-officedocument.presentationml.tags+xml"/>
  <Override PartName="/ppt/tags/tag72.xml" ContentType="application/vnd.openxmlformats-officedocument.presentationml.tags+xml"/>
  <Override PartName="/ppt/charts/chart5.xml" ContentType="application/vnd.openxmlformats-officedocument.drawingml.chart+xml"/>
  <Override PartName="/ppt/tags/tag32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68.xml" ContentType="application/vnd.openxmlformats-officedocument.presentationml.slide+xml"/>
  <Override PartName="/ppt/slideLayouts/slideLayout9.xml" ContentType="application/vnd.openxmlformats-officedocument.presentationml.slideLayout+xml"/>
  <Override PartName="/ppt/charts/chart1.xml" ContentType="application/vnd.openxmlformats-officedocument.drawingml.chart+xml"/>
  <Override PartName="/ppt/notesSlides/notesSlide5.xml" ContentType="application/vnd.openxmlformats-officedocument.presentationml.notesSlide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drawings/drawing5.xml" ContentType="application/vnd.openxmlformats-officedocument.drawingml.chartshapes+xml"/>
  <Override PartName="/ppt/slides/slide28.xml" ContentType="application/vnd.openxmlformats-officedocument.presentationml.slide+xml"/>
  <Override PartName="/ppt/slides/slide39.xml" ContentType="application/vnd.openxmlformats-officedocument.presentationml.slide+xml"/>
  <Override PartName="/ppt/slides/slide57.xml" ContentType="application/vnd.openxmlformats-officedocument.presentationml.slide+xml"/>
  <Override PartName="/ppt/slides/slide75.xml" ContentType="application/vnd.openxmlformats-officedocument.presentationml.slid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46.xml" ContentType="application/vnd.openxmlformats-officedocument.presentationml.slide+xml"/>
  <Override PartName="/ppt/slides/slide64.xml" ContentType="application/vnd.openxmlformats-officedocument.presentationml.slide+xml"/>
  <Override PartName="/ppt/slideLayouts/slideLayout5.xml" ContentType="application/vnd.openxmlformats-officedocument.presentationml.slideLayout+xml"/>
  <Override PartName="/ppt/drawings/drawing1.xml" ContentType="application/vnd.openxmlformats-officedocument.drawingml.chartshapes+xml"/>
  <Override PartName="/ppt/slides/slide24.xml" ContentType="application/vnd.openxmlformats-officedocument.presentationml.slide+xml"/>
  <Override PartName="/ppt/slides/slide35.xml" ContentType="application/vnd.openxmlformats-officedocument.presentationml.slide+xml"/>
  <Override PartName="/ppt/slides/slide53.xml" ContentType="application/vnd.openxmlformats-officedocument.presentationml.slide+xml"/>
  <Override PartName="/ppt/slides/slide71.xml" ContentType="application/vnd.openxmlformats-officedocument.presentationml.slide+xml"/>
  <Default Extension="jpeg" ContentType="image/jpeg"/>
  <Override PartName="/ppt/tags/tag3.xml" ContentType="application/vnd.openxmlformats-officedocument.presentationml.tags+xml"/>
  <Override PartName="/ppt/tags/tag59.xml" ContentType="application/vnd.openxmlformats-officedocument.presentationml.tags+xml"/>
  <Override PartName="/ppt/charts/chart16.xml" ContentType="application/vnd.openxmlformats-officedocument.drawingml.chart+xml"/>
  <Override PartName="/ppt/slides/slide13.xml" ContentType="application/vnd.openxmlformats-officedocument.presentationml.slide+xml"/>
  <Override PartName="/ppt/slides/slide31.xml" ContentType="application/vnd.openxmlformats-officedocument.presentationml.slide+xml"/>
  <Override PartName="/ppt/slides/slide42.xml" ContentType="application/vnd.openxmlformats-officedocument.presentationml.slide+xml"/>
  <Override PartName="/ppt/slides/slide60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9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66.xml" ContentType="application/vnd.openxmlformats-officedocument.presentationml.tags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charts/chart12.xml" ContentType="application/vnd.openxmlformats-officedocument.drawingml.chart+xml"/>
  <Override PartName="/ppt/tags/tag26.xml" ContentType="application/vnd.openxmlformats-officedocument.presentationml.tags+xml"/>
  <Override PartName="/ppt/tags/tag55.xml" ContentType="application/vnd.openxmlformats-officedocument.presentationml.tags+xml"/>
  <Override PartName="/ppt/tags/tag73.xml" ContentType="application/vnd.openxmlformats-officedocument.presentationml.tags+xml"/>
  <Override PartName="/ppt/charts/chart6.xml" ContentType="application/vnd.openxmlformats-officedocument.drawingml.chart+xml"/>
  <Override PartName="/ppt/tags/tag15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62.xml" ContentType="application/vnd.openxmlformats-officedocument.presentationml.tags+xml"/>
  <Override PartName="/ppt/tags/tag22.xml" ContentType="application/vnd.openxmlformats-officedocument.presentationml.tags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slides/slide8.xml" ContentType="application/vnd.openxmlformats-officedocument.presentationml.slide+xml"/>
  <Override PartName="/ppt/slides/slide69.xml" ContentType="application/vnd.openxmlformats-officedocument.presentationml.slide+xml"/>
  <Override PartName="/ppt/charts/chart2.xml" ContentType="application/vnd.openxmlformats-officedocument.drawingml.chart+xml"/>
  <Override PartName="/ppt/tags/tag11.xml" ContentType="application/vnd.openxmlformats-officedocument.presentationml.tags+xml"/>
  <Override PartName="/ppt/slides/slide29.xml" ContentType="application/vnd.openxmlformats-officedocument.presentationml.slide+xml"/>
  <Override PartName="/ppt/slides/slide76.xml" ContentType="application/vnd.openxmlformats-officedocument.presentationml.slide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54.xml" ContentType="application/vnd.openxmlformats-officedocument.presentationml.slide+xml"/>
  <Override PartName="/ppt/slides/slide65.xml" ContentType="application/vnd.openxmlformats-officedocument.presentationml.slide+xml"/>
  <Override PartName="/ppt/slideLayouts/slideLayout6.xml" ContentType="application/vnd.openxmlformats-officedocument.presentationml.slideLayout+xml"/>
  <Override PartName="/ppt/drawings/drawing2.xml" ContentType="application/vnd.openxmlformats-officedocument.drawingml.chartshapes+xml"/>
  <Override PartName="/ppt/tags/tag4.xml" ContentType="application/vnd.openxmlformats-officedocument.presentationml.tags+xml"/>
  <Override PartName="/ppt/slides/slide43.xml" ContentType="application/vnd.openxmlformats-officedocument.presentationml.slide+xml"/>
  <Override PartName="/ppt/theme/theme1.xml" ContentType="application/vnd.openxmlformats-officedocument.theme+xml"/>
  <Override PartName="/ppt/charts/chart17.xml" ContentType="application/vnd.openxmlformats-officedocument.drawingml.chart+xml"/>
  <Override PartName="/ppt/slides/slide32.xml" ContentType="application/vnd.openxmlformats-officedocument.presentationml.slide+xml"/>
  <Override PartName="/ppt/tags/tag56.xml" ContentType="application/vnd.openxmlformats-officedocument.presentationml.tags+xml"/>
  <Override PartName="/ppt/tags/tag67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5" r:id="rId1"/>
  </p:sldMasterIdLst>
  <p:notesMasterIdLst>
    <p:notesMasterId r:id="rId78"/>
  </p:notesMasterIdLst>
  <p:sldIdLst>
    <p:sldId id="256" r:id="rId2"/>
    <p:sldId id="274" r:id="rId3"/>
    <p:sldId id="257" r:id="rId4"/>
    <p:sldId id="429" r:id="rId5"/>
    <p:sldId id="430" r:id="rId6"/>
    <p:sldId id="340" r:id="rId7"/>
    <p:sldId id="335" r:id="rId8"/>
    <p:sldId id="336" r:id="rId9"/>
    <p:sldId id="337" r:id="rId10"/>
    <p:sldId id="338" r:id="rId11"/>
    <p:sldId id="319" r:id="rId12"/>
    <p:sldId id="419" r:id="rId13"/>
    <p:sldId id="420" r:id="rId14"/>
    <p:sldId id="460" r:id="rId15"/>
    <p:sldId id="459" r:id="rId16"/>
    <p:sldId id="320" r:id="rId17"/>
    <p:sldId id="321" r:id="rId18"/>
    <p:sldId id="431" r:id="rId19"/>
    <p:sldId id="323" r:id="rId20"/>
    <p:sldId id="439" r:id="rId21"/>
    <p:sldId id="334" r:id="rId22"/>
    <p:sldId id="281" r:id="rId23"/>
    <p:sldId id="301" r:id="rId24"/>
    <p:sldId id="284" r:id="rId25"/>
    <p:sldId id="476" r:id="rId26"/>
    <p:sldId id="342" r:id="rId27"/>
    <p:sldId id="453" r:id="rId28"/>
    <p:sldId id="372" r:id="rId29"/>
    <p:sldId id="348" r:id="rId30"/>
    <p:sldId id="349" r:id="rId31"/>
    <p:sldId id="350" r:id="rId32"/>
    <p:sldId id="351" r:id="rId33"/>
    <p:sldId id="352" r:id="rId34"/>
    <p:sldId id="353" r:id="rId35"/>
    <p:sldId id="354" r:id="rId36"/>
    <p:sldId id="355" r:id="rId37"/>
    <p:sldId id="356" r:id="rId38"/>
    <p:sldId id="446" r:id="rId39"/>
    <p:sldId id="357" r:id="rId40"/>
    <p:sldId id="367" r:id="rId41"/>
    <p:sldId id="368" r:id="rId42"/>
    <p:sldId id="369" r:id="rId43"/>
    <p:sldId id="370" r:id="rId44"/>
    <p:sldId id="371" r:id="rId45"/>
    <p:sldId id="358" r:id="rId46"/>
    <p:sldId id="359" r:id="rId47"/>
    <p:sldId id="360" r:id="rId48"/>
    <p:sldId id="448" r:id="rId49"/>
    <p:sldId id="465" r:id="rId50"/>
    <p:sldId id="462" r:id="rId51"/>
    <p:sldId id="434" r:id="rId52"/>
    <p:sldId id="435" r:id="rId53"/>
    <p:sldId id="447" r:id="rId54"/>
    <p:sldId id="436" r:id="rId55"/>
    <p:sldId id="477" r:id="rId56"/>
    <p:sldId id="444" r:id="rId57"/>
    <p:sldId id="445" r:id="rId58"/>
    <p:sldId id="346" r:id="rId59"/>
    <p:sldId id="379" r:id="rId60"/>
    <p:sldId id="463" r:id="rId61"/>
    <p:sldId id="389" r:id="rId62"/>
    <p:sldId id="464" r:id="rId63"/>
    <p:sldId id="397" r:id="rId64"/>
    <p:sldId id="466" r:id="rId65"/>
    <p:sldId id="467" r:id="rId66"/>
    <p:sldId id="468" r:id="rId67"/>
    <p:sldId id="407" r:id="rId68"/>
    <p:sldId id="410" r:id="rId69"/>
    <p:sldId id="415" r:id="rId70"/>
    <p:sldId id="469" r:id="rId71"/>
    <p:sldId id="470" r:id="rId72"/>
    <p:sldId id="471" r:id="rId73"/>
    <p:sldId id="472" r:id="rId74"/>
    <p:sldId id="473" r:id="rId75"/>
    <p:sldId id="292" r:id="rId76"/>
    <p:sldId id="426" r:id="rId77"/>
  </p:sldIdLst>
  <p:sldSz cx="9144000" cy="6858000" type="screen4x3"/>
  <p:notesSz cx="6858000" cy="9144000"/>
  <p:defaultTextStyle>
    <a:defPPr>
      <a:defRPr lang="fr-FR"/>
    </a:defPPr>
    <a:lvl1pPr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Times New Roman" pitchFamily="18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CCFF"/>
    <a:srgbClr val="00CC99"/>
    <a:srgbClr val="FF7C80"/>
    <a:srgbClr val="339966"/>
    <a:srgbClr val="66FF66"/>
    <a:srgbClr val="6699FF"/>
    <a:srgbClr val="B2FC9E"/>
    <a:srgbClr val="336699"/>
    <a:srgbClr val="CC6600"/>
    <a:srgbClr val="339933"/>
  </p:clrMru>
</p:presentationPr>
</file>

<file path=ppt/tableStyles.xml><?xml version="1.0" encoding="utf-8"?>
<a:tblStyleLst xmlns:a="http://schemas.openxmlformats.org/drawingml/2006/main" def="{5C22544A-7EE6-4342-B048-85BDC9FD1C3A}"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27F97BB-C833-4FB7-BDE5-3F7075034690}" styleName="Стиль из темы 2 - акцент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775DCB02-9BB8-47FD-8907-85C794F793BA}" styleName="Стиль из темы 1 - акцент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69C7853C-536D-4A76-A0AE-DD22124D55A5}" styleName="Стиль из темы 1 - акцент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84E427A-3D55-4303-BF80-6455036E1DE7}" styleName="Стиль из темы 1 - акцент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269D01E-BC32-4049-B463-5C60D7B0CCD2}" styleName="Стиль из темы 2 - акцент 4">
    <a:tblBg>
      <a:fillRef idx="3">
        <a:schemeClr val="accent4"/>
      </a:fillRef>
      <a:effectRef idx="3">
        <a:schemeClr val="accent4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4">
                <a:tint val="50000"/>
              </a:schemeClr>
            </a:lnRef>
          </a:left>
          <a:right>
            <a:lnRef idx="1">
              <a:schemeClr val="accent4">
                <a:tint val="50000"/>
              </a:schemeClr>
            </a:lnRef>
          </a:right>
          <a:top>
            <a:lnRef idx="1">
              <a:schemeClr val="accent4">
                <a:tint val="50000"/>
              </a:schemeClr>
            </a:lnRef>
          </a:top>
          <a:bottom>
            <a:lnRef idx="1">
              <a:schemeClr val="accent4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E929F9F4-4A8F-4326-A1B4-22849713DDAB}" styleName="Темный стиль 1 - акцент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06799F8-075E-4A3A-A7F6-7FBC6576F1A4}" styleName="Стиль из темы 2 - акцент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18603FDC-E32A-4AB5-989C-0864C3EAD2B8}" styleName="Стиль из темы 2 - акцент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38B1855-1B75-4FBE-930C-398BA8C253C6}" styleName="Стиль из темы 2 - акцент 6">
    <a:tblBg>
      <a:fillRef idx="3">
        <a:schemeClr val="accent6"/>
      </a:fillRef>
      <a:effectRef idx="3">
        <a:schemeClr val="accent6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6">
                <a:tint val="50000"/>
              </a:schemeClr>
            </a:lnRef>
          </a:left>
          <a:right>
            <a:lnRef idx="1">
              <a:schemeClr val="accent6">
                <a:tint val="50000"/>
              </a:schemeClr>
            </a:lnRef>
          </a:right>
          <a:top>
            <a:lnRef idx="1">
              <a:schemeClr val="accent6">
                <a:tint val="50000"/>
              </a:schemeClr>
            </a:lnRef>
          </a:top>
          <a:bottom>
            <a:lnRef idx="1">
              <a:schemeClr val="accent6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C4B1156A-380E-4F78-BDF5-A606A8083BF9}" styleName="Средний стиль 4 - акцент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 w="12700" cmpd="sng">
              <a:solidFill>
                <a:schemeClr val="accent4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4"/>
              </a:solidFill>
            </a:ln>
          </a:top>
        </a:tcBdr>
        <a:fill>
          <a:solidFill>
            <a:schemeClr val="accent4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4">
              <a:tint val="20000"/>
            </a:schemeClr>
          </a:solidFill>
        </a:fill>
      </a:tcStyle>
    </a:firstRow>
  </a:tblStyle>
  <a:tblStyle styleId="{125E5076-3810-47DD-B79F-674D7AD40C01}" styleName="Темный стиль 1 -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4993" autoAdjust="0"/>
    <p:restoredTop sz="99286" autoAdjust="0"/>
  </p:normalViewPr>
  <p:slideViewPr>
    <p:cSldViewPr>
      <p:cViewPr varScale="1">
        <p:scale>
          <a:sx n="92" d="100"/>
          <a:sy n="92" d="100"/>
        </p:scale>
        <p:origin x="-966" y="-10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slide" Target="slides/slide62.xml"/><Relationship Id="rId68" Type="http://schemas.openxmlformats.org/officeDocument/2006/relationships/slide" Target="slides/slide67.xml"/><Relationship Id="rId76" Type="http://schemas.openxmlformats.org/officeDocument/2006/relationships/slide" Target="slides/slide75.xml"/><Relationship Id="rId7" Type="http://schemas.openxmlformats.org/officeDocument/2006/relationships/slide" Target="slides/slide6.xml"/><Relationship Id="rId71" Type="http://schemas.openxmlformats.org/officeDocument/2006/relationships/slide" Target="slides/slide70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slide" Target="slides/slide65.xml"/><Relationship Id="rId74" Type="http://schemas.openxmlformats.org/officeDocument/2006/relationships/slide" Target="slides/slide73.xml"/><Relationship Id="rId79" Type="http://schemas.openxmlformats.org/officeDocument/2006/relationships/presProps" Target="pres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82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slide" Target="slides/slide64.xml"/><Relationship Id="rId73" Type="http://schemas.openxmlformats.org/officeDocument/2006/relationships/slide" Target="slides/slide72.xml"/><Relationship Id="rId78" Type="http://schemas.openxmlformats.org/officeDocument/2006/relationships/notesMaster" Target="notesMasters/notesMaster1.xml"/><Relationship Id="rId81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slide" Target="slides/slide63.xml"/><Relationship Id="rId69" Type="http://schemas.openxmlformats.org/officeDocument/2006/relationships/slide" Target="slides/slide68.xml"/><Relationship Id="rId77" Type="http://schemas.openxmlformats.org/officeDocument/2006/relationships/slide" Target="slides/slide76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72" Type="http://schemas.openxmlformats.org/officeDocument/2006/relationships/slide" Target="slides/slide71.xml"/><Relationship Id="rId80" Type="http://schemas.openxmlformats.org/officeDocument/2006/relationships/viewProps" Target="viewProps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slide" Target="slides/slide66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70" Type="http://schemas.openxmlformats.org/officeDocument/2006/relationships/slide" Target="slides/slide69.xml"/><Relationship Id="rId75" Type="http://schemas.openxmlformats.org/officeDocument/2006/relationships/slide" Target="slides/slide7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0.xlsx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1.xlsx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2.xlsx"/></Relationships>
</file>

<file path=ppt/charts/_rels/chart1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3.xlsx"/></Relationships>
</file>

<file path=ppt/charts/_rels/chart1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4.xlsx"/></Relationships>
</file>

<file path=ppt/charts/_rels/chart1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5.xlsx"/></Relationships>
</file>

<file path=ppt/charts/_rels/chart1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16.xlsx"/></Relationships>
</file>

<file path=ppt/charts/_rels/chart17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5.xml"/><Relationship Id="rId1" Type="http://schemas.openxmlformats.org/officeDocument/2006/relationships/package" Target="../embeddings/_____Microsoft_Office_Excel17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3.xlsx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_____Microsoft_Office_Excel4.xlsx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package" Target="../embeddings/_____Microsoft_Office_Excel5.xlsx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3.xml"/><Relationship Id="rId1" Type="http://schemas.openxmlformats.org/officeDocument/2006/relationships/package" Target="../embeddings/_____Microsoft_Office_Excel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Office_Excel8.xlsx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4.xml"/><Relationship Id="rId1" Type="http://schemas.openxmlformats.org/officeDocument/2006/relationships/package" Target="../embeddings/_____Microsoft_Office_Excel9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otX val="10"/>
      <c:rotY val="30"/>
      <c:depthPercent val="100"/>
      <c:rAngAx val="1"/>
    </c:view3D>
    <c:floor>
      <c:spPr>
        <a:solidFill>
          <a:srgbClr val="C0C0C0"/>
        </a:solidFill>
        <a:ln w="3175">
          <a:solidFill>
            <a:srgbClr val="000000"/>
          </a:solidFill>
          <a:prstDash val="solid"/>
        </a:ln>
      </c:spPr>
    </c:floor>
    <c:sideWall>
      <c:spPr>
        <a:noFill/>
        <a:ln w="25400">
          <a:noFill/>
        </a:ln>
      </c:spPr>
    </c:sideWall>
    <c:backWall>
      <c:spPr>
        <a:noFill/>
        <a:ln w="25400">
          <a:noFill/>
        </a:ln>
      </c:spPr>
    </c:backWall>
    <c:plotArea>
      <c:layout>
        <c:manualLayout>
          <c:layoutTarget val="inner"/>
          <c:xMode val="edge"/>
          <c:yMode val="edge"/>
          <c:x val="9.3377528166569371E-2"/>
          <c:y val="4.0667411958646919E-2"/>
          <c:w val="0.87319367961076866"/>
          <c:h val="0.72926095424631932"/>
        </c:manualLayout>
      </c:layout>
      <c:bar3DChart>
        <c:barDir val="col"/>
        <c:grouping val="clustered"/>
        <c:ser>
          <c:idx val="0"/>
          <c:order val="0"/>
          <c:tx>
            <c:strRef>
              <c:f>Sheet1!$A$2</c:f>
              <c:strCache>
                <c:ptCount val="1"/>
                <c:pt idx="0">
                  <c:v>Доходы</c:v>
                </c:pt>
              </c:strCache>
            </c:strRef>
          </c:tx>
          <c:spPr>
            <a:solidFill>
              <a:srgbClr val="FFFF99"/>
            </a:solidFill>
            <a:ln w="12000" cap="flat" cmpd="sng" algn="ctr">
              <a:solidFill>
                <a:schemeClr val="accent3"/>
              </a:solidFill>
              <a:prstDash val="solid"/>
            </a:ln>
            <a:effectLst>
              <a:glow rad="63500">
                <a:schemeClr val="accent3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3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-2.9878408991189636E-2"/>
                  <c:y val="-1.7731433603360693E-2"/>
                </c:manualLayout>
              </c:layout>
              <c:showVal val="1"/>
            </c:dLbl>
            <c:dLbl>
              <c:idx val="1"/>
              <c:layout>
                <c:manualLayout>
                  <c:x val="-4.4817613486784974E-3"/>
                  <c:y val="-3.5462867206721066E-2"/>
                </c:manualLayout>
              </c:layout>
              <c:showVal val="1"/>
            </c:dLbl>
            <c:dLbl>
              <c:idx val="2"/>
              <c:layout>
                <c:manualLayout>
                  <c:x val="-1.0457443146916373E-2"/>
                  <c:y val="-5.0661238866744123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7</a:t>
                    </a:r>
                    <a:r>
                      <a:rPr lang="ru-RU" dirty="0" smtClean="0"/>
                      <a:t>73,4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>
                <c:manualLayout>
                  <c:x val="-1.0457443146916373E-2"/>
                  <c:y val="2.5330619433372456E-3"/>
                </c:manualLayout>
              </c:layout>
              <c:showVal val="1"/>
            </c:dLbl>
            <c:dLbl>
              <c:idx val="4"/>
              <c:layout>
                <c:manualLayout>
                  <c:x val="-1.0457443146916373E-2"/>
                  <c:y val="2.5330619433372092E-3"/>
                </c:manualLayout>
              </c:layout>
              <c:showVal val="1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2:$F$2</c:f>
              <c:numCache>
                <c:formatCode>General</c:formatCode>
                <c:ptCount val="5"/>
                <c:pt idx="0">
                  <c:v>1795.5</c:v>
                </c:pt>
                <c:pt idx="1">
                  <c:v>1885.3</c:v>
                </c:pt>
                <c:pt idx="2">
                  <c:v>1768.4</c:v>
                </c:pt>
                <c:pt idx="3">
                  <c:v>1660.6</c:v>
                </c:pt>
                <c:pt idx="4">
                  <c:v>1284.3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spPr>
            <a:solidFill>
              <a:srgbClr val="00B0F0"/>
            </a:solidFill>
            <a:ln w="12000" cap="flat" cmpd="sng" algn="ctr">
              <a:solidFill>
                <a:schemeClr val="bg1"/>
              </a:solidFill>
              <a:prstDash val="solid"/>
            </a:ln>
            <a:effectLst>
              <a:glow rad="63500">
                <a:schemeClr val="accent5">
                  <a:alpha val="45000"/>
                  <a:satMod val="120000"/>
                </a:schemeClr>
              </a:glow>
            </a:effectLst>
            <a:scene3d>
              <a:camera prst="orthographicFront" fov="0">
                <a:rot lat="0" lon="0" rev="0"/>
              </a:camera>
              <a:lightRig rig="brightRoom" dir="tl">
                <a:rot lat="0" lon="0" rev="8700000"/>
              </a:lightRig>
            </a:scene3d>
            <a:sp3d>
              <a:bevelT w="0" h="0"/>
              <a:contourClr>
                <a:schemeClr val="accent5">
                  <a:tint val="70000"/>
                </a:schemeClr>
              </a:contourClr>
            </a:sp3d>
          </c:spPr>
          <c:dLbls>
            <c:dLbl>
              <c:idx val="0"/>
              <c:layout>
                <c:manualLayout>
                  <c:x val="2.5396647642511212E-2"/>
                  <c:y val="-2.7338719247980005E-2"/>
                </c:manualLayout>
              </c:layout>
              <c:showVal val="1"/>
            </c:dLbl>
            <c:dLbl>
              <c:idx val="1"/>
              <c:layout>
                <c:manualLayout>
                  <c:x val="2.5396647642511212E-2"/>
                  <c:y val="-5.0661238866744123E-3"/>
                </c:manualLayout>
              </c:layout>
              <c:showVal val="1"/>
            </c:dLbl>
            <c:dLbl>
              <c:idx val="2"/>
              <c:layout>
                <c:manualLayout>
                  <c:x val="4.9299374835463247E-2"/>
                  <c:y val="-7.5991858300115981E-3"/>
                </c:manualLayout>
              </c:layout>
              <c:showVal val="1"/>
            </c:dLbl>
            <c:dLbl>
              <c:idx val="3"/>
              <c:layout>
                <c:manualLayout>
                  <c:x val="4.0335852138106004E-2"/>
                  <c:y val="-2.5330619433372092E-3"/>
                </c:manualLayout>
              </c:layout>
              <c:showVal val="1"/>
            </c:dLbl>
            <c:dLbl>
              <c:idx val="4"/>
              <c:layout>
                <c:manualLayout>
                  <c:x val="3.2866249890308605E-2"/>
                  <c:y val="-1.0132247773348625E-2"/>
                </c:manualLayout>
              </c:layout>
              <c:showVal val="1"/>
            </c:dLbl>
            <c:txPr>
              <a:bodyPr/>
              <a:lstStyle/>
              <a:p>
                <a:pPr>
                  <a:defRPr sz="1600"/>
                </a:pPr>
                <a:endParaRPr lang="ru-RU"/>
              </a:p>
            </c:txPr>
            <c:showVal val="1"/>
          </c:dLbls>
          <c:cat>
            <c:numRef>
              <c:f>Sheet1!$B$1:$F$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3:$F$3</c:f>
              <c:numCache>
                <c:formatCode>General</c:formatCode>
                <c:ptCount val="5"/>
                <c:pt idx="0">
                  <c:v>1793.7</c:v>
                </c:pt>
                <c:pt idx="1">
                  <c:v>1819.8</c:v>
                </c:pt>
                <c:pt idx="2">
                  <c:v>1773.4</c:v>
                </c:pt>
                <c:pt idx="3">
                  <c:v>1660.6</c:v>
                </c:pt>
                <c:pt idx="4">
                  <c:v>1284.3</c:v>
                </c:pt>
              </c:numCache>
            </c:numRef>
          </c:val>
        </c:ser>
        <c:gapDepth val="0"/>
        <c:shape val="cylinder"/>
        <c:axId val="56480512"/>
        <c:axId val="56482048"/>
        <c:axId val="0"/>
      </c:bar3DChart>
      <c:catAx>
        <c:axId val="56480512"/>
        <c:scaling>
          <c:orientation val="minMax"/>
        </c:scaling>
        <c:axPos val="b"/>
        <c:numFmt formatCode="General" sourceLinked="1"/>
        <c:tickLblPos val="low"/>
        <c:spPr>
          <a:ln w="3851">
            <a:solidFill>
              <a:srgbClr val="000000"/>
            </a:solidFill>
            <a:prstDash val="solid"/>
          </a:ln>
        </c:spPr>
        <c:txPr>
          <a:bodyPr rot="0" vert="horz"/>
          <a:lstStyle/>
          <a:p>
            <a:pPr>
              <a:defRPr sz="2334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endParaRPr lang="ru-RU"/>
          </a:p>
        </c:txPr>
        <c:crossAx val="56482048"/>
        <c:crosses val="autoZero"/>
        <c:auto val="1"/>
        <c:lblAlgn val="ctr"/>
        <c:lblOffset val="100"/>
        <c:tickLblSkip val="1"/>
        <c:tickMarkSkip val="1"/>
      </c:catAx>
      <c:valAx>
        <c:axId val="56482048"/>
        <c:scaling>
          <c:orientation val="minMax"/>
        </c:scaling>
        <c:delete val="1"/>
        <c:axPos val="l"/>
        <c:numFmt formatCode="General" sourceLinked="1"/>
        <c:tickLblPos val="none"/>
        <c:crossAx val="56480512"/>
        <c:crosses val="autoZero"/>
        <c:crossBetween val="between"/>
      </c:valAx>
      <c:spPr>
        <a:noFill/>
        <a:ln w="25390">
          <a:noFill/>
        </a:ln>
        <a:scene3d>
          <a:camera prst="orthographicFront"/>
          <a:lightRig rig="threePt" dir="t"/>
        </a:scene3d>
        <a:sp3d>
          <a:bevelT w="6350"/>
        </a:sp3d>
      </c:spPr>
    </c:plotArea>
    <c:legend>
      <c:legendPos val="b"/>
      <c:layout/>
      <c:spPr>
        <a:noFill/>
        <a:ln w="30794">
          <a:noFill/>
        </a:ln>
      </c:spPr>
      <c:txPr>
        <a:bodyPr/>
        <a:lstStyle/>
        <a:p>
          <a:pPr>
            <a:defRPr sz="2000" b="1" i="0" u="none" strike="noStrike" baseline="0">
              <a:solidFill>
                <a:srgbClr val="000000"/>
              </a:solidFill>
              <a:latin typeface="Calibri"/>
              <a:ea typeface="Calibri"/>
              <a:cs typeface="Calibri"/>
            </a:defRPr>
          </a:pPr>
          <a:endParaRPr lang="ru-RU"/>
        </a:p>
      </c:txPr>
    </c:legend>
    <c:plotVisOnly val="1"/>
    <c:dispBlanksAs val="gap"/>
  </c:chart>
  <c:spPr>
    <a:noFill/>
    <a:ln>
      <a:noFill/>
    </a:ln>
  </c:spPr>
  <c:txPr>
    <a:bodyPr/>
    <a:lstStyle/>
    <a:p>
      <a:pPr>
        <a:defRPr sz="2849" b="1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ru-RU"/>
    </a:p>
  </c:txPr>
  <c:externalData r:id="rId1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perspective val="30"/>
    </c:view3D>
    <c:plotArea>
      <c:layout/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explosion val="25"/>
          <c:dPt>
            <c:idx val="0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-9.3121041355876302E-2"/>
                  <c:y val="-0.3063226423342962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</a:t>
                    </a:r>
                    <a:r>
                      <a:rPr lang="ru-RU" dirty="0" smtClean="0"/>
                      <a:t>351</a:t>
                    </a:r>
                    <a:r>
                      <a:rPr lang="en-US" dirty="0" smtClean="0"/>
                      <a:t>,</a:t>
                    </a:r>
                    <a:r>
                      <a:rPr lang="ru-RU" dirty="0" smtClean="0"/>
                      <a:t>2 </a:t>
                    </a:r>
                  </a:p>
                  <a:p>
                    <a:r>
                      <a:rPr lang="ru-RU" dirty="0" smtClean="0"/>
                      <a:t>(76%)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>
              <c:idx val="1"/>
              <c:layout>
                <c:manualLayout>
                  <c:x val="0.10158659057004474"/>
                  <c:y val="-8.478573136038350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</a:t>
                    </a:r>
                    <a:r>
                      <a:rPr lang="ru-RU" dirty="0" smtClean="0"/>
                      <a:t>22</a:t>
                    </a:r>
                    <a:r>
                      <a:rPr lang="en-US" dirty="0" smtClean="0"/>
                      <a:t>,</a:t>
                    </a:r>
                    <a:r>
                      <a:rPr lang="ru-RU" dirty="0" smtClean="0"/>
                      <a:t>2</a:t>
                    </a:r>
                  </a:p>
                  <a:p>
                    <a:r>
                      <a:rPr lang="ru-RU" dirty="0" smtClean="0"/>
                      <a:t>(24%)</a:t>
                    </a:r>
                    <a:endParaRPr lang="en-US" dirty="0"/>
                  </a:p>
                </c:rich>
              </c:tx>
              <c:dLblPos val="outEnd"/>
              <c:showVal val="1"/>
            </c:dLbl>
            <c:dLblPos val="outEnd"/>
            <c:showVal val="1"/>
          </c:dLbls>
          <c:cat>
            <c:strRef>
              <c:f>Лист1!$A$2:$A$3</c:f>
              <c:strCache>
                <c:ptCount val="2"/>
                <c:pt idx="0">
                  <c:v>Расходы на отрасли социально-культурной сферы</c:v>
                </c:pt>
                <c:pt idx="1">
                  <c:v>Другие расходы</c:v>
                </c:pt>
              </c:strCache>
            </c:strRef>
          </c:cat>
          <c:val>
            <c:numRef>
              <c:f>Лист1!$B$2:$B$3</c:f>
              <c:numCache>
                <c:formatCode>General</c:formatCode>
                <c:ptCount val="2"/>
                <c:pt idx="0">
                  <c:v>1351.1</c:v>
                </c:pt>
                <c:pt idx="1">
                  <c:v>422.3</c:v>
                </c:pt>
              </c:numCache>
            </c:numRef>
          </c:val>
        </c:ser>
        <c:dLbls>
          <c:showVal val="1"/>
        </c:dLbls>
      </c:pie3DChart>
    </c:plotArea>
    <c:legend>
      <c:legendPos val="b"/>
      <c:layout/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0.18958333333333913"/>
          <c:y val="3.437500000000001E-2"/>
          <c:w val="0.64375000000001825"/>
          <c:h val="0.96562500000002038"/>
        </c:manualLayout>
      </c:layout>
      <c:pie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c:spPr>
          <c:explosion val="7"/>
          <c:dPt>
            <c:idx val="0"/>
            <c:spPr>
              <a:solidFill>
                <a:srgbClr val="7DBD63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1"/>
            <c:spPr>
              <a:solidFill>
                <a:srgbClr val="E29C9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2"/>
            <c:spPr>
              <a:solidFill>
                <a:srgbClr val="83AEE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Pt>
            <c:idx val="3"/>
            <c:spPr>
              <a:solidFill>
                <a:srgbClr val="EEBB2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03200" h="203200"/>
              </a:sp3d>
            </c:spPr>
          </c:dPt>
          <c:dLbls>
            <c:delete val="1"/>
          </c:dLbls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#,##0.00</c:formatCode>
                <c:ptCount val="4"/>
                <c:pt idx="0">
                  <c:v>7968</c:v>
                </c:pt>
                <c:pt idx="1">
                  <c:v>8727.7999999999811</c:v>
                </c:pt>
                <c:pt idx="2">
                  <c:v>665.4</c:v>
                </c:pt>
                <c:pt idx="3">
                  <c:v>2047.9</c:v>
                </c:pt>
              </c:numCache>
            </c:numRef>
          </c:val>
        </c:ser>
        <c:dLbls>
          <c:showVal val="1"/>
        </c:dLbls>
        <c:firstSliceAng val="218"/>
      </c:pie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view3D>
      <c:rotX val="30"/>
      <c:rotY val="307"/>
      <c:perspective val="30"/>
    </c:view3D>
    <c:plotArea>
      <c:layout>
        <c:manualLayout>
          <c:layoutTarget val="inner"/>
          <c:xMode val="edge"/>
          <c:yMode val="edge"/>
          <c:x val="3.1541004999825054E-2"/>
          <c:y val="3.104034711862548E-2"/>
          <c:w val="0.90537698500051933"/>
          <c:h val="0.90405710890606106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spPr>
            <a:effectLst>
              <a:outerShdw blurRad="152400" dist="317500" dir="5400000" sx="90000" sy="-19000" rotWithShape="0">
                <a:prstClr val="black">
                  <a:alpha val="15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41300" h="241300"/>
              <a:bevelB w="241300" h="241300"/>
            </a:sp3d>
          </c:spPr>
          <c:explosion val="25"/>
          <c:dPt>
            <c:idx val="0"/>
            <c:explosion val="32"/>
            <c:spPr>
              <a:solidFill>
                <a:schemeClr val="accent6">
                  <a:lumMod val="20000"/>
                  <a:lumOff val="8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Pt>
            <c:idx val="1"/>
            <c:explosion val="33"/>
            <c:spPr>
              <a:solidFill>
                <a:schemeClr val="accent6">
                  <a:lumMod val="60000"/>
                  <a:lumOff val="40000"/>
                </a:schemeClr>
              </a:solidFill>
              <a:effectLst>
                <a:outerShdw blurRad="152400" dist="317500" dir="5400000" sx="90000" sy="-19000" rotWithShape="0">
                  <a:prstClr val="black">
                    <a:alpha val="15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241300" h="241300"/>
                <a:bevelB w="241300" h="241300"/>
              </a:sp3d>
            </c:spPr>
          </c:dPt>
          <c:dLbls>
            <c:dLbl>
              <c:idx val="0"/>
              <c:layout>
                <c:manualLayout>
                  <c:x val="2.1829399650480592E-2"/>
                  <c:y val="9.9175131104916367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,3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6.873408162324593E-2"/>
                  <c:y val="-0.20522491031183884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3</a:t>
                    </a:r>
                    <a:r>
                      <a:rPr lang="ru-RU" dirty="0" smtClean="0"/>
                      <a:t>,</a:t>
                    </a:r>
                    <a:r>
                      <a:rPr lang="en-US" dirty="0" smtClean="0"/>
                      <a:t>7</a:t>
                    </a:r>
                    <a:endParaRPr lang="en-US" dirty="0"/>
                  </a:p>
                </c:rich>
              </c:tx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0.19481571066101938"/>
                  <c:y val="-0.15888924884137781"/>
                </c:manualLayout>
              </c:layout>
              <c:tx>
                <c:rich>
                  <a:bodyPr/>
                  <a:lstStyle/>
                  <a:p>
                    <a:pPr>
                      <a:defRPr sz="1600" b="1">
                        <a:solidFill>
                          <a:schemeClr val="bg1"/>
                        </a:solidFill>
                      </a:defRPr>
                    </a:pPr>
                    <a:r>
                      <a:rPr lang="ru-RU" dirty="0" smtClean="0"/>
                      <a:t>9,4</a:t>
                    </a:r>
                    <a:endParaRPr lang="en-US" dirty="0"/>
                  </a:p>
                </c:rich>
              </c:tx>
              <c:spPr/>
              <c:dLblPos val="bestFit"/>
              <c:showVal val="1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6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3</c:f>
              <c:numCache>
                <c:formatCode>#,##0.0</c:formatCode>
                <c:ptCount val="2"/>
                <c:pt idx="0">
                  <c:v>1.3</c:v>
                </c:pt>
                <c:pt idx="1">
                  <c:v>3.7</c:v>
                </c:pt>
              </c:numCache>
            </c:numRef>
          </c:val>
        </c:ser>
        <c:dLbls>
          <c:showVal val="1"/>
        </c:dLbls>
      </c:pie3DChart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/>
      <c:barChart>
        <c:barDir val="bar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gradFill>
              <a:gsLst>
                <a:gs pos="99167">
                  <a:schemeClr val="accent6">
                    <a:lumMod val="75000"/>
                  </a:schemeClr>
                </a:gs>
                <a:gs pos="47000">
                  <a:schemeClr val="accent6">
                    <a:lumMod val="60000"/>
                    <a:lumOff val="40000"/>
                  </a:schemeClr>
                </a:gs>
                <a:gs pos="0">
                  <a:srgbClr val="EEDFA0"/>
                </a:gs>
              </a:gsLst>
              <a:lin ang="0" scaled="1"/>
            </a:gra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107950" h="107950"/>
            </a:sp3d>
          </c:spPr>
          <c:dPt>
            <c:idx val="0"/>
            <c:spPr>
              <a:solidFill>
                <a:srgbClr val="EEA98A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Pt>
            <c:idx val="1"/>
            <c:spPr>
              <a:solidFill>
                <a:srgbClr val="F37741"/>
              </a:solidFill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 prstMaterial="flat">
                <a:bevelT w="107950" h="107950"/>
              </a:sp3d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400" b="1"/>
                </a:pPr>
                <a:endParaRPr lang="ru-RU"/>
              </a:p>
            </c:txPr>
            <c:dLblPos val="ctr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Лист1!$A$2:$A$3</c:f>
              <c:strCache>
                <c:ptCount val="2"/>
                <c:pt idx="0">
                  <c:v>01.01.2020</c:v>
                </c:pt>
                <c:pt idx="1">
                  <c:v>01.01.2021</c:v>
                </c:pt>
              </c:strCache>
            </c:strRef>
          </c:cat>
          <c:val>
            <c:numRef>
              <c:f>Лист1!$B$2:$B$3</c:f>
              <c:numCache>
                <c:formatCode>#,##0</c:formatCode>
                <c:ptCount val="2"/>
                <c:pt idx="0">
                  <c:v>12130</c:v>
                </c:pt>
                <c:pt idx="1">
                  <c:v>12392</c:v>
                </c:pt>
              </c:numCache>
            </c:numRef>
          </c:val>
        </c:ser>
        <c:gapWidth val="10"/>
        <c:overlap val="18"/>
        <c:axId val="113832320"/>
        <c:axId val="113833856"/>
      </c:barChart>
      <c:catAx>
        <c:axId val="113832320"/>
        <c:scaling>
          <c:orientation val="maxMin"/>
        </c:scaling>
        <c:axPos val="l"/>
        <c:numFmt formatCode="General" sourceLinked="1"/>
        <c:tickLblPos val="nextTo"/>
        <c:txPr>
          <a:bodyPr/>
          <a:lstStyle/>
          <a:p>
            <a:pPr>
              <a:defRPr sz="1400" b="1"/>
            </a:pPr>
            <a:endParaRPr lang="ru-RU"/>
          </a:p>
        </c:txPr>
        <c:crossAx val="113833856"/>
        <c:crosses val="autoZero"/>
        <c:auto val="1"/>
        <c:lblAlgn val="ctr"/>
        <c:lblOffset val="100"/>
      </c:catAx>
      <c:valAx>
        <c:axId val="113833856"/>
        <c:scaling>
          <c:orientation val="minMax"/>
          <c:max val="12300"/>
          <c:min val="1000"/>
        </c:scaling>
        <c:delete val="1"/>
        <c:axPos val="t"/>
        <c:numFmt formatCode="#,##0" sourceLinked="1"/>
        <c:tickLblPos val="none"/>
        <c:crossAx val="113832320"/>
        <c:crosses val="autoZero"/>
        <c:crossBetween val="between"/>
      </c:valAx>
    </c:plotArea>
    <c:plotVisOnly val="1"/>
    <c:dispBlanksAs val="gap"/>
  </c:chart>
  <c:txPr>
    <a:bodyPr/>
    <a:lstStyle/>
    <a:p>
      <a:pPr>
        <a:defRPr sz="1800"/>
      </a:pPr>
      <a:endParaRPr lang="ru-RU"/>
    </a:p>
  </c:txPr>
  <c:externalData r:id="rId1"/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view3D>
      <c:rAngAx val="1"/>
    </c:view3D>
    <c:floor>
      <c:spPr>
        <a:noFill/>
        <a:ln w="9525">
          <a:noFill/>
        </a:ln>
      </c:spPr>
    </c:floor>
    <c:plotArea>
      <c:layout>
        <c:manualLayout>
          <c:layoutTarget val="inner"/>
          <c:xMode val="edge"/>
          <c:yMode val="edge"/>
          <c:x val="2.6399278215224035E-2"/>
          <c:y val="3.437500000000001E-2"/>
          <c:w val="0.93329866579177601"/>
          <c:h val="0.77676607195253733"/>
        </c:manualLayout>
      </c:layout>
      <c:bar3DChart>
        <c:barDir val="bar"/>
        <c:grouping val="percentStacked"/>
        <c:ser>
          <c:idx val="0"/>
          <c:order val="0"/>
          <c:tx>
            <c:strRef>
              <c:f>Лист1!$B$1</c:f>
              <c:strCache>
                <c:ptCount val="1"/>
                <c:pt idx="0">
                  <c:v>2019 г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scene3d>
              <a:camera prst="orthographicFront"/>
              <a:lightRig rig="threePt" dir="t"/>
            </a:scene3d>
            <a:sp3d>
              <a:bevelT/>
            </a:sp3d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B$2</c:f>
              <c:numCache>
                <c:formatCode>#,##0.0</c:formatCode>
                <c:ptCount val="1"/>
                <c:pt idx="0">
                  <c:v>160.80000000000001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2020 г</c:v>
                </c:pt>
              </c:strCache>
            </c:strRef>
          </c:tx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76,1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C$2</c:f>
              <c:numCache>
                <c:formatCode>#,##0.0</c:formatCode>
                <c:ptCount val="1"/>
                <c:pt idx="0">
                  <c:v>76.099999999999994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2021 г</c:v>
                </c:pt>
              </c:strCache>
            </c:strRef>
          </c:tx>
          <c:dLbls>
            <c:dLbl>
              <c:idx val="0"/>
              <c:layout>
                <c:manualLayout>
                  <c:x val="2.7777777777778408E-3"/>
                  <c:y val="-4.5444461143197114E-3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D$2</c:f>
              <c:numCache>
                <c:formatCode>#,##0.0</c:formatCode>
                <c:ptCount val="1"/>
                <c:pt idx="0">
                  <c:v>36.200000000000003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2022 г</c:v>
                </c:pt>
              </c:strCache>
            </c:strRef>
          </c:tx>
          <c:dLbls>
            <c:dLbl>
              <c:idx val="0"/>
              <c:layout>
                <c:manualLayout>
                  <c:x val="0"/>
                  <c:y val="-6.8166691714795702E-3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E$2</c:f>
              <c:numCache>
                <c:formatCode>#,##0.0</c:formatCode>
                <c:ptCount val="1"/>
                <c:pt idx="0">
                  <c:v>20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2023 г</c:v>
                </c:pt>
              </c:strCache>
            </c:strRef>
          </c:tx>
          <c:spPr>
            <a:solidFill>
              <a:srgbClr val="3399FF"/>
            </a:solidFill>
          </c:spPr>
          <c:dLbls>
            <c:showVal val="1"/>
          </c:dLbls>
          <c:cat>
            <c:strRef>
              <c:f>Лист1!$A$2</c:f>
              <c:strCache>
                <c:ptCount val="1"/>
                <c:pt idx="0">
                  <c:v>Категория 1</c:v>
                </c:pt>
              </c:strCache>
            </c:strRef>
          </c:cat>
          <c:val>
            <c:numRef>
              <c:f>Лист1!$F$2</c:f>
              <c:numCache>
                <c:formatCode>#,##0.0</c:formatCode>
                <c:ptCount val="1"/>
                <c:pt idx="0">
                  <c:v>20</c:v>
                </c:pt>
              </c:numCache>
            </c:numRef>
          </c:val>
        </c:ser>
        <c:shape val="cylinder"/>
        <c:axId val="115103232"/>
        <c:axId val="115104768"/>
        <c:axId val="0"/>
      </c:bar3DChart>
      <c:catAx>
        <c:axId val="115103232"/>
        <c:scaling>
          <c:orientation val="minMax"/>
        </c:scaling>
        <c:delete val="1"/>
        <c:axPos val="l"/>
        <c:tickLblPos val="none"/>
        <c:crossAx val="115104768"/>
        <c:crosses val="autoZero"/>
        <c:auto val="1"/>
        <c:lblAlgn val="ctr"/>
        <c:lblOffset val="100"/>
      </c:catAx>
      <c:valAx>
        <c:axId val="115104768"/>
        <c:scaling>
          <c:orientation val="minMax"/>
        </c:scaling>
        <c:delete val="1"/>
        <c:axPos val="b"/>
        <c:numFmt formatCode="0%" sourceLinked="1"/>
        <c:tickLblPos val="none"/>
        <c:crossAx val="115103232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24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2400" b="1" baseline="0"/>
            </a:pPr>
            <a:endParaRPr lang="ru-RU"/>
          </a:p>
        </c:txPr>
      </c:legendEntry>
      <c:layout>
        <c:manualLayout>
          <c:xMode val="edge"/>
          <c:yMode val="edge"/>
          <c:x val="9.7222222222222224E-2"/>
          <c:y val="0.55487758621923555"/>
          <c:w val="0.77992235345583061"/>
          <c:h val="0.32923903786561332"/>
        </c:manualLayout>
      </c:layout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3.4013572088852029E-2"/>
          <c:w val="0.53125289941066556"/>
          <c:h val="0.86596251665585244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cat>
            <c:strRef>
              <c:f>Лист1!$A$2:$A$14</c:f>
              <c:strCache>
                <c:ptCount val="13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6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0,9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2,3 %</c:v>
                </c:pt>
                <c:pt idx="8">
                  <c:v>Культура 3,1 %</c:v>
                </c:pt>
                <c:pt idx="9">
                  <c:v>Формирование современной городской среды 5,7 %</c:v>
                </c:pt>
                <c:pt idx="10">
                  <c:v>Развитие жилищно-коммунального хозяйства 6,2 %</c:v>
                </c:pt>
                <c:pt idx="11">
                  <c:v>Социальная поддержка населения 22,5%</c:v>
                </c:pt>
                <c:pt idx="12">
                  <c:v>Развитие образования 55,9 %</c:v>
                </c:pt>
              </c:strCache>
            </c:strRef>
          </c:cat>
          <c:val>
            <c:numRef>
              <c:f>Лист1!$B$2:$B$14</c:f>
              <c:numCache>
                <c:formatCode>0.0%</c:formatCode>
                <c:ptCount val="13"/>
                <c:pt idx="0" formatCode="0.00%">
                  <c:v>1.0000000000000078E-4</c:v>
                </c:pt>
                <c:pt idx="1">
                  <c:v>1.0000000000000041E-3</c:v>
                </c:pt>
                <c:pt idx="2">
                  <c:v>6.0000000000000114E-3</c:v>
                </c:pt>
                <c:pt idx="3">
                  <c:v>7.0000000000000114E-3</c:v>
                </c:pt>
                <c:pt idx="4">
                  <c:v>9.0000000000000028E-3</c:v>
                </c:pt>
                <c:pt idx="5">
                  <c:v>1.0000000000000005E-2</c:v>
                </c:pt>
                <c:pt idx="6">
                  <c:v>1.0999999999999998E-2</c:v>
                </c:pt>
                <c:pt idx="7">
                  <c:v>2.3E-2</c:v>
                </c:pt>
                <c:pt idx="8">
                  <c:v>3.1000000000000052E-2</c:v>
                </c:pt>
                <c:pt idx="9">
                  <c:v>5.7000000000000023E-2</c:v>
                </c:pt>
                <c:pt idx="10">
                  <c:v>6.2000000000000034E-2</c:v>
                </c:pt>
                <c:pt idx="11">
                  <c:v>0.22500000000000001</c:v>
                </c:pt>
                <c:pt idx="12">
                  <c:v>0.55900000000000005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3902371566489904"/>
          <c:y val="0"/>
          <c:w val="0.45244302505678274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chart>
    <c:autoTitleDeleted val="1"/>
    <c:plotArea>
      <c:layout>
        <c:manualLayout>
          <c:layoutTarget val="inner"/>
          <c:xMode val="edge"/>
          <c:yMode val="edge"/>
          <c:x val="4.5223226179348934E-4"/>
          <c:y val="3.4013572088852036E-2"/>
          <c:w val="0.53125289941066556"/>
          <c:h val="0.86596251665585255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олбец1</c:v>
                </c:pt>
              </c:strCache>
            </c:strRef>
          </c:tx>
          <c:spPr>
            <a:ln>
              <a:solidFill>
                <a:srgbClr val="4D4D4D"/>
              </a:solidFill>
            </a:ln>
            <a:scene3d>
              <a:camera prst="orthographicFront"/>
              <a:lightRig rig="contrasting" dir="t"/>
            </a:scene3d>
            <a:sp3d>
              <a:bevelT/>
            </a:sp3d>
          </c:spPr>
          <c:explosion val="25"/>
          <c:dPt>
            <c:idx val="2"/>
            <c:spPr>
              <a:gradFill>
                <a:gsLst>
                  <a:gs pos="50000">
                    <a:srgbClr val="CC00FF"/>
                  </a:gs>
                  <a:gs pos="100000">
                    <a:srgbClr val="FF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3"/>
            <c:spPr>
              <a:gradFill>
                <a:gsLst>
                  <a:gs pos="50000">
                    <a:srgbClr val="FF00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4"/>
            <c:spPr>
              <a:gradFill>
                <a:gsLst>
                  <a:gs pos="50000">
                    <a:srgbClr val="00CCFF"/>
                  </a:gs>
                  <a:gs pos="100000">
                    <a:srgbClr val="CCFF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5"/>
            <c:spPr>
              <a:gradFill>
                <a:gsLst>
                  <a:gs pos="50000">
                    <a:srgbClr val="FF33CC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6"/>
            <c:spPr>
              <a:gradFill>
                <a:gsLst>
                  <a:gs pos="50000">
                    <a:srgbClr val="3333FF"/>
                  </a:gs>
                  <a:gs pos="100000">
                    <a:srgbClr val="99CCFF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7"/>
            <c:spPr>
              <a:gradFill>
                <a:gsLst>
                  <a:gs pos="50000">
                    <a:srgbClr val="FF6600"/>
                  </a:gs>
                  <a:gs pos="100000">
                    <a:srgbClr val="FFCCCC"/>
                  </a:gs>
                </a:gsLst>
                <a:lin ang="60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8"/>
            <c:spPr>
              <a:gradFill>
                <a:gsLst>
                  <a:gs pos="50000">
                    <a:schemeClr val="accent3">
                      <a:lumMod val="50000"/>
                    </a:schemeClr>
                  </a:gs>
                  <a:gs pos="100000">
                    <a:srgbClr val="16A085">
                      <a:lumMod val="60000"/>
                      <a:lumOff val="40000"/>
                    </a:srgbClr>
                  </a:gs>
                  <a:gs pos="100000">
                    <a:srgbClr val="16A085">
                      <a:lumMod val="20000"/>
                      <a:lumOff val="80000"/>
                    </a:srgbClr>
                  </a:gs>
                </a:gsLst>
                <a:lin ang="10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9"/>
            <c:spPr>
              <a:gradFill>
                <a:gsLst>
                  <a:gs pos="0">
                    <a:srgbClr val="666633"/>
                  </a:gs>
                  <a:gs pos="50000">
                    <a:srgbClr val="CCCC00"/>
                  </a:gs>
                  <a:gs pos="100000">
                    <a:srgbClr val="FFFF66"/>
                  </a:gs>
                </a:gsLst>
                <a:lin ang="126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0"/>
            <c:spPr>
              <a:gradFill>
                <a:gsLst>
                  <a:gs pos="0">
                    <a:srgbClr val="800000"/>
                  </a:gs>
                  <a:gs pos="50000">
                    <a:srgbClr val="A50021"/>
                  </a:gs>
                  <a:gs pos="100000">
                    <a:srgbClr val="FF9999"/>
                  </a:gs>
                </a:gsLst>
                <a:lin ang="138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1"/>
            <c:spPr>
              <a:gradFill>
                <a:gsLst>
                  <a:gs pos="50000">
                    <a:srgbClr val="3366CC"/>
                  </a:gs>
                  <a:gs pos="100000">
                    <a:srgbClr val="00FFFF"/>
                  </a:gs>
                  <a:gs pos="100000">
                    <a:srgbClr val="CCFFFF"/>
                  </a:gs>
                </a:gsLst>
                <a:lin ang="17400000" scaled="0"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dPt>
            <c:idx val="12"/>
            <c:spPr>
              <a:gradFill flip="none" rotWithShape="1">
                <a:gsLst>
                  <a:gs pos="0">
                    <a:srgbClr val="99FF33"/>
                  </a:gs>
                  <a:gs pos="50000">
                    <a:srgbClr val="FFFF66"/>
                  </a:gs>
                  <a:gs pos="100000">
                    <a:srgbClr val="EBF680">
                      <a:lumMod val="20000"/>
                      <a:lumOff val="80000"/>
                    </a:srgbClr>
                  </a:gs>
                </a:gsLst>
                <a:lin ang="1800000" scaled="0"/>
                <a:tileRect/>
              </a:gradFill>
              <a:ln>
                <a:solidFill>
                  <a:srgbClr val="4D4D4D"/>
                </a:solidFill>
              </a:ln>
              <a:scene3d>
                <a:camera prst="orthographicFront"/>
                <a:lightRig rig="contrasting" dir="t"/>
              </a:scene3d>
              <a:sp3d>
                <a:bevelT/>
              </a:sp3d>
            </c:spPr>
          </c:dPt>
          <c:cat>
            <c:strRef>
              <c:f>Лист1!$A$2:$A$14</c:f>
              <c:strCache>
                <c:ptCount val="13"/>
                <c:pt idx="0">
                  <c:v>Развитие экономики 0,01 %</c:v>
                </c:pt>
                <c:pt idx="1">
                  <c:v>Молодёжь 0,1 %</c:v>
                </c:pt>
                <c:pt idx="2">
                  <c:v>Создание условий безопасной жизни населения 0,6 %</c:v>
                </c:pt>
                <c:pt idx="3">
                  <c:v>Управление имуществом 0,7 %</c:v>
                </c:pt>
                <c:pt idx="4">
                  <c:v>Развитие градостроительства, строительства и архитектуры 0,9 %</c:v>
                </c:pt>
                <c:pt idx="5">
                  <c:v>Открытость и эффективность работы администрации 1 %</c:v>
                </c:pt>
                <c:pt idx="6">
                  <c:v>Развитие физической культуры и спорта 1,1 %</c:v>
                </c:pt>
                <c:pt idx="7">
                  <c:v>Развитие транспортной системы и охрана окружающей среды 2,3 %</c:v>
                </c:pt>
                <c:pt idx="8">
                  <c:v>Культура 3,1 %</c:v>
                </c:pt>
                <c:pt idx="9">
                  <c:v>Формирование современной городской среды 5,7 %</c:v>
                </c:pt>
                <c:pt idx="10">
                  <c:v>Развитие жилищно-коммунального хозяйства 6,4 %</c:v>
                </c:pt>
                <c:pt idx="11">
                  <c:v>Социальная поддержка населения 22,5%</c:v>
                </c:pt>
                <c:pt idx="12">
                  <c:v>Развитие образования 55,8 %</c:v>
                </c:pt>
              </c:strCache>
            </c:strRef>
          </c:cat>
          <c:val>
            <c:numRef>
              <c:f>Лист1!$B$2:$B$14</c:f>
              <c:numCache>
                <c:formatCode>0.0%</c:formatCode>
                <c:ptCount val="13"/>
                <c:pt idx="0" formatCode="0.00%">
                  <c:v>1.0000000000000007E-4</c:v>
                </c:pt>
                <c:pt idx="1">
                  <c:v>1.0000000000000007E-3</c:v>
                </c:pt>
                <c:pt idx="2">
                  <c:v>6.0000000000000027E-3</c:v>
                </c:pt>
                <c:pt idx="3">
                  <c:v>7.0000000000000027E-3</c:v>
                </c:pt>
                <c:pt idx="4">
                  <c:v>9.0000000000000028E-3</c:v>
                </c:pt>
                <c:pt idx="5">
                  <c:v>1.0000000000000005E-2</c:v>
                </c:pt>
                <c:pt idx="6">
                  <c:v>1.0999999999999998E-2</c:v>
                </c:pt>
                <c:pt idx="7">
                  <c:v>2.3E-2</c:v>
                </c:pt>
                <c:pt idx="8">
                  <c:v>3.1000000000000014E-2</c:v>
                </c:pt>
                <c:pt idx="9">
                  <c:v>5.7000000000000023E-2</c:v>
                </c:pt>
                <c:pt idx="10">
                  <c:v>6.4000000000000043E-2</c:v>
                </c:pt>
                <c:pt idx="11">
                  <c:v>0.22500000000000001</c:v>
                </c:pt>
                <c:pt idx="12">
                  <c:v>0.55800000000000005</c:v>
                </c:pt>
              </c:numCache>
            </c:numRef>
          </c:val>
        </c:ser>
        <c:firstSliceAng val="0"/>
        <c:holeSize val="30"/>
      </c:doughnutChart>
      <c:spPr>
        <a:scene3d>
          <a:camera prst="orthographicFront"/>
          <a:lightRig rig="threePt" dir="t"/>
        </a:scene3d>
        <a:sp3d>
          <a:bevelT w="6350"/>
        </a:sp3d>
      </c:spPr>
    </c:plotArea>
    <c:legend>
      <c:legendPos val="r"/>
      <c:legendEntry>
        <c:idx val="0"/>
        <c:txPr>
          <a:bodyPr/>
          <a:lstStyle/>
          <a:p>
            <a:pPr>
              <a:defRPr sz="1400" b="1">
                <a:solidFill>
                  <a:schemeClr val="tx2">
                    <a:lumMod val="50000"/>
                  </a:schemeClr>
                </a:solidFill>
              </a:defRPr>
            </a:pPr>
            <a:endParaRPr lang="ru-RU"/>
          </a:p>
        </c:txPr>
      </c:legendEntry>
      <c:layout>
        <c:manualLayout>
          <c:xMode val="edge"/>
          <c:yMode val="edge"/>
          <c:x val="0.53902371566489915"/>
          <c:y val="0"/>
          <c:w val="0.45244302505678274"/>
          <c:h val="0.99891355674384319"/>
        </c:manualLayout>
      </c:layout>
      <c:spPr>
        <a:gradFill>
          <a:gsLst>
            <a:gs pos="0">
              <a:prstClr val="white"/>
            </a:gs>
            <a:gs pos="50000">
              <a:srgbClr val="6AB0AA">
                <a:lumMod val="60000"/>
                <a:lumOff val="40000"/>
              </a:srgbClr>
            </a:gs>
            <a:gs pos="100000">
              <a:schemeClr val="accent6">
                <a:lumMod val="75000"/>
              </a:schemeClr>
            </a:gs>
          </a:gsLst>
          <a:lin ang="600000" scaled="0"/>
        </a:gradFill>
      </c:spPr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2"/>
  <c:chart>
    <c:autoTitleDeleted val="1"/>
    <c:view3D>
      <c:perspective val="30"/>
    </c:view3D>
    <c:plotArea>
      <c:layout>
        <c:manualLayout>
          <c:layoutTarget val="inner"/>
          <c:xMode val="edge"/>
          <c:yMode val="edge"/>
          <c:x val="8.1535433070867719E-2"/>
          <c:y val="0"/>
          <c:w val="0.88143795830838312"/>
          <c:h val="0.93419802273131869"/>
        </c:manualLayout>
      </c:layout>
      <c:area3D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Расходы краевого бюджета</c:v>
                </c:pt>
              </c:strCache>
            </c:strRef>
          </c:tx>
          <c:spPr>
            <a:gradFill flip="none" rotWithShape="1">
              <a:gsLst>
                <a:gs pos="0">
                  <a:srgbClr val="009999">
                    <a:shade val="30000"/>
                    <a:satMod val="115000"/>
                  </a:srgbClr>
                </a:gs>
                <a:gs pos="50000">
                  <a:srgbClr val="009999">
                    <a:shade val="67500"/>
                    <a:satMod val="115000"/>
                  </a:srgbClr>
                </a:gs>
                <a:gs pos="100000">
                  <a:srgbClr val="009999">
                    <a:shade val="100000"/>
                    <a:satMod val="115000"/>
                  </a:srgbClr>
                </a:gs>
              </a:gsLst>
              <a:lin ang="16200000" scaled="1"/>
              <a:tileRect/>
            </a:gradFill>
            <a:scene3d>
              <a:camera prst="orthographicFront"/>
              <a:lightRig rig="contrasting" dir="t"/>
            </a:scene3d>
            <a:sp3d prstMaterial="flat">
              <a:bevelT w="203200" h="203200"/>
            </a:sp3d>
          </c:spPr>
          <c:dLbls>
            <c:dLbl>
              <c:idx val="0"/>
              <c:layout>
                <c:manualLayout>
                  <c:x val="2.4627337426753985E-3"/>
                  <c:y val="-0.18431991977059078"/>
                </c:manualLayout>
              </c:layout>
              <c:showVal val="1"/>
            </c:dLbl>
            <c:dLbl>
              <c:idx val="1"/>
              <c:layout>
                <c:manualLayout>
                  <c:x val="2.7777509839289451E-3"/>
                  <c:y val="-0.12803184979582696"/>
                </c:manualLayout>
              </c:layout>
              <c:showVal val="1"/>
            </c:dLbl>
            <c:dLbl>
              <c:idx val="2"/>
              <c:layout>
                <c:manualLayout>
                  <c:x val="-1.3888754919644741E-3"/>
                  <c:y val="-8.6995266624805501E-2"/>
                </c:manualLayout>
              </c:layout>
              <c:showVal val="1"/>
            </c:dLbl>
            <c:dLbl>
              <c:idx val="3"/>
              <c:layout>
                <c:manualLayout>
                  <c:x val="3.6415193194498392E-3"/>
                  <c:y val="-7.8704361024344804E-2"/>
                </c:manualLayout>
              </c:layout>
              <c:showVal val="1"/>
            </c:dLbl>
            <c:dLbl>
              <c:idx val="4"/>
              <c:layout>
                <c:manualLayout>
                  <c:x val="7.587233779259903E-4"/>
                  <c:y val="-7.0364961825039443E-2"/>
                </c:manualLayout>
              </c:layout>
              <c:showVal val="1"/>
            </c:dLbl>
            <c:txPr>
              <a:bodyPr/>
              <a:lstStyle/>
              <a:p>
                <a:pPr>
                  <a:defRPr sz="2000" b="1"/>
                </a:pPr>
                <a:endParaRPr lang="ru-RU"/>
              </a:p>
            </c:txPr>
            <c:showVal val="1"/>
          </c:dLbls>
          <c:cat>
            <c:strRef>
              <c:f>Лист1!$A$2:$A$6</c:f>
              <c:strCache>
                <c:ptCount val="5"/>
                <c:pt idx="0">
                  <c:v>на 01.01.2019 г.</c:v>
                </c:pt>
                <c:pt idx="1">
                  <c:v>на 01.01.2020 г.</c:v>
                </c:pt>
                <c:pt idx="2">
                  <c:v>на 01.01.2021 г.</c:v>
                </c:pt>
                <c:pt idx="3">
                  <c:v>на 01.01.2022 г.</c:v>
                </c:pt>
                <c:pt idx="4">
                  <c:v>на 01.01.2023 г.</c:v>
                </c:pt>
              </c:strCache>
            </c:strRef>
          </c:cat>
          <c:val>
            <c:numRef>
              <c:f>Лист1!$B$2:$B$6</c:f>
              <c:numCache>
                <c:formatCode>#,##0.0</c:formatCode>
                <c:ptCount val="5"/>
                <c:pt idx="0">
                  <c:v>17.3</c:v>
                </c:pt>
                <c:pt idx="1">
                  <c:v>8.3000000000000007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</c:numCache>
            </c:numRef>
          </c:val>
        </c:ser>
        <c:axId val="123040896"/>
        <c:axId val="123042432"/>
        <c:axId val="120603520"/>
      </c:area3DChart>
      <c:catAx>
        <c:axId val="123040896"/>
        <c:scaling>
          <c:orientation val="minMax"/>
        </c:scaling>
        <c:axPos val="b"/>
        <c:tickLblPos val="nextTo"/>
        <c:txPr>
          <a:bodyPr/>
          <a:lstStyle/>
          <a:p>
            <a:pPr>
              <a:defRPr sz="1600" b="1"/>
            </a:pPr>
            <a:endParaRPr lang="ru-RU"/>
          </a:p>
        </c:txPr>
        <c:crossAx val="123042432"/>
        <c:crosses val="autoZero"/>
        <c:auto val="1"/>
        <c:lblAlgn val="ctr"/>
        <c:lblOffset val="100"/>
      </c:catAx>
      <c:valAx>
        <c:axId val="123042432"/>
        <c:scaling>
          <c:orientation val="minMax"/>
        </c:scaling>
        <c:delete val="1"/>
        <c:axPos val="l"/>
        <c:majorGridlines/>
        <c:numFmt formatCode="#,##0.0" sourceLinked="1"/>
        <c:tickLblPos val="none"/>
        <c:crossAx val="123040896"/>
        <c:crosses val="autoZero"/>
        <c:crossBetween val="midCat"/>
      </c:valAx>
      <c:serAx>
        <c:axId val="120603520"/>
        <c:scaling>
          <c:orientation val="minMax"/>
        </c:scaling>
        <c:delete val="1"/>
        <c:axPos val="b"/>
        <c:tickLblPos val="none"/>
        <c:crossAx val="123042432"/>
        <c:crosses val="autoZero"/>
      </c:serAx>
    </c:plotArea>
    <c:plotVisOnly val="1"/>
    <c:dispBlanksAs val="zero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3633254464464745E-2"/>
          <c:w val="0.97210269028871465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всего доходов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212E-3"/>
                  <c:y val="-2.0450007514438456E-2"/>
                </c:manualLayout>
              </c:layout>
              <c:showVal val="1"/>
            </c:dLbl>
            <c:dLbl>
              <c:idx val="1"/>
              <c:layout>
                <c:manualLayout>
                  <c:x val="1.2278874780439345E-2"/>
                  <c:y val="-2.272223057159828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17</a:t>
                    </a:r>
                    <a:r>
                      <a:rPr lang="ru-RU" dirty="0" smtClean="0"/>
                      <a:t>73,4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1.0473291533002818E-2"/>
                  <c:y val="-2.5775516550734252E-2"/>
                </c:manualLayout>
              </c:layout>
              <c:showVal val="1"/>
            </c:dLbl>
            <c:dLbl>
              <c:idx val="3"/>
              <c:layout>
                <c:manualLayout>
                  <c:x val="5.5813067183816539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1885.3</c:v>
                </c:pt>
                <c:pt idx="1">
                  <c:v>1773.4</c:v>
                </c:pt>
                <c:pt idx="2">
                  <c:v>1660.6</c:v>
                </c:pt>
                <c:pt idx="3">
                  <c:v>1284.3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безвозмездные поступл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2.9845679012345732E-2"/>
                  <c:y val="-2.7266698093149001E-2"/>
                </c:manualLayout>
              </c:layout>
              <c:showVal val="1"/>
            </c:dLbl>
            <c:dLbl>
              <c:idx val="1"/>
              <c:layout>
                <c:manualLayout>
                  <c:x val="2.8302469135802397E-2"/>
                  <c:y val="-2.9929562811222436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1</a:t>
                    </a:r>
                    <a:r>
                      <a:rPr lang="en-US" dirty="0" smtClean="0"/>
                      <a:t>42</a:t>
                    </a:r>
                    <a:r>
                      <a:rPr lang="ru-RU" dirty="0" smtClean="0"/>
                      <a:t>6</a:t>
                    </a:r>
                    <a:r>
                      <a:rPr lang="en-US" dirty="0" smtClean="0"/>
                      <a:t>,7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2.8564814814814814E-2"/>
                  <c:y val="-2.4864312505343971E-2"/>
                </c:manualLayout>
              </c:layout>
              <c:showVal val="1"/>
            </c:dLbl>
            <c:dLbl>
              <c:idx val="3"/>
              <c:layout>
                <c:manualLayout>
                  <c:x val="4.5277777777777757E-2"/>
                  <c:y val="-4.4083397207784814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1527.6</c:v>
                </c:pt>
                <c:pt idx="1">
                  <c:v>1426.7</c:v>
                </c:pt>
                <c:pt idx="2">
                  <c:v>1312.8</c:v>
                </c:pt>
                <c:pt idx="3">
                  <c:v>932.2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налоговые и неналоговые доходы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2.1013414989792981E-2"/>
                  <c:y val="-4.1290576670906465E-2"/>
                </c:manualLayout>
              </c:layout>
              <c:showVal val="1"/>
            </c:dLbl>
            <c:dLbl>
              <c:idx val="1"/>
              <c:layout>
                <c:manualLayout>
                  <c:x val="2.3837367551278417E-2"/>
                  <c:y val="-3.4083419907491141E-2"/>
                </c:manualLayout>
              </c:layout>
              <c:showVal val="1"/>
            </c:dLbl>
            <c:dLbl>
              <c:idx val="2"/>
              <c:layout>
                <c:manualLayout>
                  <c:x val="3.3786089238845143E-2"/>
                  <c:y val="-3.4083419907491141E-2"/>
                </c:manualLayout>
              </c:layout>
              <c:showVal val="1"/>
            </c:dLbl>
            <c:dLbl>
              <c:idx val="3"/>
              <c:layout>
                <c:manualLayout>
                  <c:x val="3.8677943034898542E-2"/>
                  <c:y val="-3.0059518630027385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357.7</c:v>
                </c:pt>
                <c:pt idx="1">
                  <c:v>346.7</c:v>
                </c:pt>
                <c:pt idx="2">
                  <c:v>347.8</c:v>
                </c:pt>
                <c:pt idx="3">
                  <c:v>352.1</c:v>
                </c:pt>
              </c:numCache>
            </c:numRef>
          </c:val>
        </c:ser>
        <c:shape val="cylinder"/>
        <c:axId val="65927808"/>
        <c:axId val="56500608"/>
        <c:axId val="0"/>
      </c:bar3DChart>
      <c:catAx>
        <c:axId val="65927808"/>
        <c:scaling>
          <c:orientation val="minMax"/>
        </c:scaling>
        <c:axPos val="b"/>
        <c:tickLblPos val="nextTo"/>
        <c:crossAx val="56500608"/>
        <c:crosses val="autoZero"/>
        <c:auto val="1"/>
        <c:lblAlgn val="ctr"/>
        <c:lblOffset val="100"/>
      </c:catAx>
      <c:valAx>
        <c:axId val="56500608"/>
        <c:scaling>
          <c:orientation val="minMax"/>
        </c:scaling>
        <c:delete val="1"/>
        <c:axPos val="l"/>
        <c:numFmt formatCode="0.0" sourceLinked="1"/>
        <c:tickLblPos val="none"/>
        <c:crossAx val="65927808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9081"/>
          <c:w val="0.77846996666312318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1 год</a:t>
            </a:r>
          </a:p>
        </c:rich>
      </c:tx>
      <c:layout/>
    </c:title>
    <c:plotArea>
      <c:layout/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2.9</c:v>
                </c:pt>
                <c:pt idx="1">
                  <c:v>47.1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en-US" dirty="0" smtClean="0">
                <a:latin typeface="Times New Roman" pitchFamily="18" charset="0"/>
                <a:cs typeface="Times New Roman" pitchFamily="18" charset="0"/>
              </a:rPr>
              <a:t>20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2</a:t>
            </a:r>
            <a:r>
              <a:rPr lang="ru-RU" baseline="0" dirty="0" smtClean="0">
                <a:latin typeface="Times New Roman" pitchFamily="18" charset="0"/>
                <a:cs typeface="Times New Roman" pitchFamily="18" charset="0"/>
              </a:rPr>
              <a:t>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66016663998117864"/>
          <c:y val="2.5184221589421851E-2"/>
        </c:manualLayout>
      </c:layout>
    </c:title>
    <c:plotArea>
      <c:layout>
        <c:manualLayout>
          <c:layoutTarget val="inner"/>
          <c:xMode val="edge"/>
          <c:yMode val="edge"/>
          <c:x val="0.59726840057112451"/>
          <c:y val="0.20744682391579491"/>
          <c:w val="0.38145916738990959"/>
          <c:h val="0.6576882196377714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51.4</c:v>
                </c:pt>
                <c:pt idx="1">
                  <c:v>48.6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autoTitleDeleted val="1"/>
    <c:plotArea>
      <c:layout/>
      <c:doughnutChart>
        <c:varyColors val="1"/>
        <c:firstSliceAng val="0"/>
        <c:holeSize val="50"/>
      </c:doughnutChart>
      <c:spPr>
        <a:noFill/>
        <a:ln w="25400">
          <a:noFill/>
        </a:ln>
      </c:spPr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29"/>
  <c:chart>
    <c:title>
      <c:tx>
        <c:rich>
          <a:bodyPr/>
          <a:lstStyle/>
          <a:p>
            <a:pPr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2023 год</a:t>
            </a:r>
            <a:endParaRPr lang="en-US" dirty="0">
              <a:latin typeface="Times New Roman" pitchFamily="18" charset="0"/>
              <a:cs typeface="Times New Roman" pitchFamily="18" charset="0"/>
            </a:endParaRPr>
          </a:p>
        </c:rich>
      </c:tx>
      <c:layout>
        <c:manualLayout>
          <c:xMode val="edge"/>
          <c:yMode val="edge"/>
          <c:x val="0.53000666678899311"/>
          <c:y val="0.11086069801768057"/>
        </c:manualLayout>
      </c:layout>
    </c:title>
    <c:plotArea>
      <c:layout>
        <c:manualLayout>
          <c:layoutTarget val="inner"/>
          <c:xMode val="edge"/>
          <c:yMode val="edge"/>
          <c:x val="0.49771354181248267"/>
          <c:y val="0.34231178036223614"/>
          <c:w val="0.38145916738990959"/>
          <c:h val="0.65768821963777147"/>
        </c:manualLayout>
      </c:layout>
      <c:doughnut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2018</c:v>
                </c:pt>
              </c:strCache>
            </c:strRef>
          </c:tx>
          <c:dPt>
            <c:idx val="1"/>
            <c:spPr>
              <a:gradFill rotWithShape="1">
                <a:gsLst>
                  <a:gs pos="0">
                    <a:schemeClr val="accent2">
                      <a:tint val="48000"/>
                      <a:satMod val="138000"/>
                    </a:schemeClr>
                  </a:gs>
                  <a:gs pos="25000">
                    <a:schemeClr val="accent2">
                      <a:tint val="85000"/>
                    </a:schemeClr>
                  </a:gs>
                  <a:gs pos="40000">
                    <a:schemeClr val="accent2">
                      <a:tint val="92000"/>
                    </a:schemeClr>
                  </a:gs>
                  <a:gs pos="50000">
                    <a:schemeClr val="accent2">
                      <a:tint val="93000"/>
                    </a:schemeClr>
                  </a:gs>
                  <a:gs pos="60000">
                    <a:schemeClr val="accent2">
                      <a:tint val="92000"/>
                    </a:schemeClr>
                  </a:gs>
                  <a:gs pos="75000">
                    <a:schemeClr val="accent2">
                      <a:tint val="83000"/>
                      <a:satMod val="108000"/>
                    </a:schemeClr>
                  </a:gs>
                  <a:gs pos="100000">
                    <a:schemeClr val="accent2">
                      <a:tint val="48000"/>
                      <a:satMod val="150000"/>
                    </a:schemeClr>
                  </a:gs>
                </a:gsLst>
                <a:lin ang="5400000" scaled="0"/>
              </a:gradFill>
              <a:ln>
                <a:noFill/>
              </a:ln>
              <a:effectLst>
                <a:glow rad="101500">
                  <a:schemeClr val="accent2">
                    <a:alpha val="42000"/>
                    <a:satMod val="120000"/>
                  </a:schemeClr>
                </a:glow>
              </a:effectLst>
              <a:scene3d>
                <a:camera prst="orthographicFront" fov="0">
                  <a:rot lat="0" lon="0" rev="0"/>
                </a:camera>
                <a:lightRig rig="glow" dir="t">
                  <a:rot lat="0" lon="0" rev="4800000"/>
                </a:lightRig>
              </a:scene3d>
              <a:sp3d prstMaterial="powder">
                <a:bevelT w="50800" h="50800"/>
                <a:contourClr>
                  <a:schemeClr val="accent2"/>
                </a:contourClr>
              </a:sp3d>
            </c:spPr>
          </c:dPt>
          <c:cat>
            <c:strRef>
              <c:f>Лист1!$A$2:$A$5</c:f>
              <c:strCache>
                <c:ptCount val="2"/>
                <c:pt idx="0">
                  <c:v>Кв. 1</c:v>
                </c:pt>
                <c:pt idx="1">
                  <c:v>Кв. 2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49.2</c:v>
                </c:pt>
                <c:pt idx="1">
                  <c:v>50.8</c:v>
                </c:pt>
              </c:numCache>
            </c:numRef>
          </c:val>
        </c:ser>
        <c:firstSliceAng val="0"/>
        <c:holeSize val="50"/>
      </c:doughnutChart>
    </c:plotArea>
    <c:plotVisOnly val="1"/>
  </c:chart>
  <c:txPr>
    <a:bodyPr/>
    <a:lstStyle/>
    <a:p>
      <a:pPr>
        <a:defRPr sz="1800"/>
      </a:pPr>
      <a:endParaRPr lang="ru-RU"/>
    </a:p>
  </c:txPr>
  <c:externalData r:id="rId1"/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10"/>
  <c:chart>
    <c:autoTitleDeleted val="1"/>
    <c:plotArea>
      <c:layout>
        <c:manualLayout>
          <c:layoutTarget val="inner"/>
          <c:xMode val="edge"/>
          <c:yMode val="edge"/>
          <c:x val="3.2592364474556212E-2"/>
          <c:y val="4.6439958814325402E-2"/>
          <c:w val="0.96740763552544395"/>
          <c:h val="0.62694177701879761"/>
        </c:manualLayout>
      </c:layout>
      <c:lineChart>
        <c:grouping val="standard"/>
        <c:ser>
          <c:idx val="0"/>
          <c:order val="0"/>
          <c:tx>
            <c:strRef>
              <c:f>Лист1!$B$1</c:f>
              <c:strCache>
                <c:ptCount val="1"/>
                <c:pt idx="0">
                  <c:v>Земельный налог</c:v>
                </c:pt>
              </c:strCache>
            </c:strRef>
          </c:tx>
          <c:spPr>
            <a:ln>
              <a:solidFill>
                <a:srgbClr val="9BBB59"/>
              </a:solidFill>
            </a:ln>
          </c:spPr>
          <c:marker>
            <c:spPr>
              <a:solidFill>
                <a:srgbClr val="92D050"/>
              </a:solidFill>
            </c:spPr>
          </c:marker>
          <c:dLbls>
            <c:dLbl>
              <c:idx val="0"/>
              <c:layout>
                <c:manualLayout>
                  <c:x val="0"/>
                  <c:y val="6.320943413247229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7,1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0"/>
                  <c:y val="5.53082548659140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4,9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0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24,9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24,6</a:t>
                    </a:r>
                  </a:p>
                  <a:p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27.07</c:v>
                </c:pt>
                <c:pt idx="1">
                  <c:v>24.93</c:v>
                </c:pt>
                <c:pt idx="2">
                  <c:v>24.87</c:v>
                </c:pt>
                <c:pt idx="3">
                  <c:v>24.57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Налог на имущество физических лиц</c:v>
                </c:pt>
              </c:strCache>
            </c:strRef>
          </c:tx>
          <c:dLbls>
            <c:dLbl>
              <c:idx val="0"/>
              <c:layout>
                <c:manualLayout>
                  <c:x val="-7.4073555623990969E-3"/>
                  <c:y val="3.9505896332795179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,6</a:t>
                    </a:r>
                    <a:endParaRPr lang="en-US" dirty="0"/>
                  </a:p>
                </c:rich>
              </c:tx>
              <c:showVal val="1"/>
            </c:dLbl>
            <c:dLbl>
              <c:idx val="1"/>
              <c:layout>
                <c:manualLayout>
                  <c:x val="-7.4073555623990969E-3"/>
                  <c:y val="8.6912971932149322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,8</a:t>
                    </a:r>
                    <a:endParaRPr lang="en-US" dirty="0"/>
                  </a:p>
                </c:rich>
              </c:tx>
              <c:showVal val="1"/>
            </c:dLbl>
            <c:dLbl>
              <c:idx val="2"/>
              <c:layout>
                <c:manualLayout>
                  <c:x val="-7.4073555623990969E-3"/>
                  <c:y val="7.90117926655904E-2"/>
                </c:manualLayout>
              </c:layout>
              <c:tx>
                <c:rich>
                  <a:bodyPr/>
                  <a:lstStyle/>
                  <a:p>
                    <a:r>
                      <a:rPr lang="ru-RU" dirty="0" smtClean="0"/>
                      <a:t>7,8</a:t>
                    </a:r>
                    <a:endParaRPr lang="en-US" dirty="0"/>
                  </a:p>
                </c:rich>
              </c:tx>
              <c:showVal val="1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ru-RU" dirty="0" smtClean="0"/>
                      <a:t>7,7</a:t>
                    </a:r>
                    <a:endParaRPr lang="en-US" dirty="0"/>
                  </a:p>
                </c:rich>
              </c:tx>
              <c:showVal val="1"/>
            </c:dLbl>
            <c:showVal val="1"/>
          </c:dLbls>
          <c:cat>
            <c:numRef>
              <c:f>Лист1!$A$2:$A$5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Лист1!$C$2:$C$5</c:f>
              <c:numCache>
                <c:formatCode>General</c:formatCode>
                <c:ptCount val="4"/>
                <c:pt idx="0">
                  <c:v>7.56</c:v>
                </c:pt>
                <c:pt idx="1">
                  <c:v>7.7700000000000014</c:v>
                </c:pt>
                <c:pt idx="2">
                  <c:v>7.8</c:v>
                </c:pt>
                <c:pt idx="3">
                  <c:v>7.72</c:v>
                </c:pt>
              </c:numCache>
            </c:numRef>
          </c:val>
        </c:ser>
        <c:dLbls>
          <c:showVal val="1"/>
        </c:dLbls>
        <c:marker val="1"/>
        <c:axId val="67244800"/>
        <c:axId val="67246336"/>
      </c:lineChart>
      <c:catAx>
        <c:axId val="67244800"/>
        <c:scaling>
          <c:orientation val="minMax"/>
        </c:scaling>
        <c:axPos val="b"/>
        <c:numFmt formatCode="General" sourceLinked="1"/>
        <c:majorTickMark val="none"/>
        <c:tickLblPos val="nextTo"/>
        <c:crossAx val="67246336"/>
        <c:crosses val="autoZero"/>
        <c:auto val="1"/>
        <c:lblAlgn val="ctr"/>
        <c:lblOffset val="100"/>
      </c:catAx>
      <c:valAx>
        <c:axId val="67246336"/>
        <c:scaling>
          <c:orientation val="minMax"/>
        </c:scaling>
        <c:delete val="1"/>
        <c:axPos val="l"/>
        <c:numFmt formatCode="General" sourceLinked="1"/>
        <c:majorTickMark val="none"/>
        <c:tickLblPos val="none"/>
        <c:crossAx val="67244800"/>
        <c:crosses val="autoZero"/>
        <c:crossBetween val="between"/>
      </c:valAx>
    </c:plotArea>
    <c:legend>
      <c:legendPos val="t"/>
      <c:layout>
        <c:manualLayout>
          <c:xMode val="edge"/>
          <c:yMode val="edge"/>
          <c:x val="6.7934782608695704E-2"/>
          <c:y val="0.88888266748789169"/>
          <c:w val="0.84042678033164719"/>
          <c:h val="8.6565310221156266E-2"/>
        </c:manualLayout>
      </c:layout>
      <c:spPr>
        <a:gradFill rotWithShape="1">
          <a:gsLst>
            <a:gs pos="0">
              <a:schemeClr val="accent1">
                <a:tint val="48000"/>
                <a:satMod val="138000"/>
              </a:schemeClr>
            </a:gs>
            <a:gs pos="25000">
              <a:schemeClr val="accent1">
                <a:tint val="85000"/>
              </a:schemeClr>
            </a:gs>
            <a:gs pos="40000">
              <a:schemeClr val="accent1">
                <a:tint val="92000"/>
              </a:schemeClr>
            </a:gs>
            <a:gs pos="50000">
              <a:schemeClr val="accent1">
                <a:tint val="93000"/>
              </a:schemeClr>
            </a:gs>
            <a:gs pos="60000">
              <a:schemeClr val="accent1">
                <a:tint val="92000"/>
              </a:schemeClr>
            </a:gs>
            <a:gs pos="75000">
              <a:schemeClr val="accent1">
                <a:tint val="83000"/>
                <a:satMod val="108000"/>
              </a:schemeClr>
            </a:gs>
            <a:gs pos="100000">
              <a:schemeClr val="accent1">
                <a:tint val="48000"/>
                <a:satMod val="150000"/>
              </a:schemeClr>
            </a:gs>
          </a:gsLst>
          <a:lin ang="5400000" scaled="0"/>
        </a:gradFill>
        <a:ln w="12000" cap="flat" cmpd="sng" algn="ctr">
          <a:solidFill>
            <a:schemeClr val="accent1"/>
          </a:solidFill>
          <a:prstDash val="solid"/>
        </a:ln>
        <a:effectLst>
          <a:glow rad="63500">
            <a:schemeClr val="accent1">
              <a:alpha val="45000"/>
              <a:satMod val="120000"/>
            </a:schemeClr>
          </a:glow>
        </a:effectLst>
        <a:scene3d>
          <a:camera prst="orthographicFront" fov="0">
            <a:rot lat="0" lon="0" rev="0"/>
          </a:camera>
          <a:lightRig rig="brightRoom" dir="tl">
            <a:rot lat="0" lon="0" rev="8700000"/>
          </a:lightRig>
        </a:scene3d>
        <a:sp3d>
          <a:bevelT w="0" h="0"/>
          <a:contourClr>
            <a:schemeClr val="accent1">
              <a:tint val="70000"/>
            </a:schemeClr>
          </a:contourClr>
        </a:sp3d>
      </c:spPr>
      <c:txPr>
        <a:bodyPr/>
        <a:lstStyle/>
        <a:p>
          <a:pPr>
            <a:defRPr>
              <a:solidFill>
                <a:schemeClr val="lt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view3D>
      <c:rotX val="30"/>
      <c:rAngAx val="1"/>
    </c:view3D>
    <c:plotArea>
      <c:layout>
        <c:manualLayout>
          <c:layoutTarget val="inner"/>
          <c:xMode val="edge"/>
          <c:yMode val="edge"/>
          <c:x val="0"/>
          <c:y val="1.3633338342959041E-2"/>
          <c:w val="0.97210269028871465"/>
          <c:h val="0.70901160086165549"/>
        </c:manualLayout>
      </c:layout>
      <c:bar3DChart>
        <c:barDir val="col"/>
        <c:grouping val="clustered"/>
        <c:ser>
          <c:idx val="0"/>
          <c:order val="0"/>
          <c:tx>
            <c:strRef>
              <c:f>Лист1!$B$1</c:f>
              <c:strCache>
                <c:ptCount val="1"/>
                <c:pt idx="0">
                  <c:v>субвенции</c:v>
                </c:pt>
              </c:strCache>
            </c:strRef>
          </c:tx>
          <c:spPr>
            <a:solidFill>
              <a:srgbClr val="CCFF33"/>
            </a:solidFill>
          </c:spPr>
          <c:dLbls>
            <c:dLbl>
              <c:idx val="0"/>
              <c:layout>
                <c:manualLayout>
                  <c:x val="2.2325226873526212E-3"/>
                  <c:y val="-2.0450007514438456E-2"/>
                </c:manualLayout>
              </c:layout>
              <c:showVal val="1"/>
            </c:dLbl>
            <c:dLbl>
              <c:idx val="1"/>
              <c:layout>
                <c:manualLayout>
                  <c:x val="1.2278874780439345E-2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8.9300907494104034E-3"/>
                  <c:y val="-1.1361115285799429E-2"/>
                </c:manualLayout>
              </c:layout>
              <c:showVal val="1"/>
            </c:dLbl>
            <c:dLbl>
              <c:idx val="3"/>
              <c:layout>
                <c:manualLayout>
                  <c:x val="5.5813067183816522E-3"/>
                  <c:y val="-2.7266676685918052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B$2:$B$5</c:f>
              <c:numCache>
                <c:formatCode>0.0</c:formatCode>
                <c:ptCount val="4"/>
                <c:pt idx="0">
                  <c:v>670.6</c:v>
                </c:pt>
                <c:pt idx="1">
                  <c:v>637</c:v>
                </c:pt>
                <c:pt idx="2">
                  <c:v>639.6</c:v>
                </c:pt>
                <c:pt idx="3">
                  <c:v>650.29999999999995</c:v>
                </c:pt>
              </c:numCache>
            </c:numRef>
          </c:val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дотации и субсидия на финансовое обеспечение решения вопросов местного значения</c:v>
                </c:pt>
              </c:strCache>
            </c:strRef>
          </c:tx>
          <c:spPr>
            <a:solidFill>
              <a:srgbClr val="9933FF"/>
            </a:solidFill>
            <a:ln>
              <a:solidFill>
                <a:srgbClr val="FF33CC"/>
              </a:solidFill>
            </a:ln>
          </c:spPr>
          <c:dLbls>
            <c:dLbl>
              <c:idx val="0"/>
              <c:layout>
                <c:manualLayout>
                  <c:x val="6.6975680620578034E-3"/>
                  <c:y val="-2.7266676685918052E-2"/>
                </c:manualLayout>
              </c:layout>
              <c:showVal val="1"/>
            </c:dLbl>
            <c:dLbl>
              <c:idx val="1"/>
              <c:layout>
                <c:manualLayout>
                  <c:x val="6.6975680620578433E-3"/>
                  <c:y val="-2.2722230571598286E-2"/>
                </c:manualLayout>
              </c:layout>
              <c:showVal val="1"/>
            </c:dLbl>
            <c:dLbl>
              <c:idx val="2"/>
              <c:layout>
                <c:manualLayout>
                  <c:x val="1.0046352093086703E-2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4.6820987654321133E-2"/>
                  <c:y val="-5.129055397120011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C$2:$C$5</c:f>
              <c:numCache>
                <c:formatCode>0.0</c:formatCode>
                <c:ptCount val="4"/>
                <c:pt idx="0">
                  <c:v>409.2</c:v>
                </c:pt>
                <c:pt idx="1">
                  <c:v>301.10000000000002</c:v>
                </c:pt>
                <c:pt idx="2">
                  <c:v>245.3</c:v>
                </c:pt>
                <c:pt idx="3">
                  <c:v>238.6</c:v>
                </c:pt>
              </c:numCache>
            </c:numRef>
          </c:val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прочие безвозмездные поступления</c:v>
                </c:pt>
              </c:strCache>
            </c:strRef>
          </c:tx>
          <c:spPr>
            <a:solidFill>
              <a:srgbClr val="33CCFF"/>
            </a:solidFill>
          </c:spPr>
          <c:dLbls>
            <c:dLbl>
              <c:idx val="0"/>
              <c:layout>
                <c:manualLayout>
                  <c:x val="5.5813067183816522E-3"/>
                  <c:y val="-3.4083345857397612E-2"/>
                </c:manualLayout>
              </c:layout>
              <c:showVal val="1"/>
            </c:dLbl>
            <c:dLbl>
              <c:idx val="1"/>
              <c:layout>
                <c:manualLayout>
                  <c:x val="2.2325226873526052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3.4083345857397612E-2"/>
                </c:manualLayout>
              </c:layout>
              <c:showVal val="1"/>
            </c:dLbl>
            <c:dLbl>
              <c:idx val="3"/>
              <c:layout>
                <c:manualLayout>
                  <c:x val="7.8138294057343519E-3"/>
                  <c:y val="-2.045000751443845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D$2:$D$5</c:f>
              <c:numCache>
                <c:formatCode>0.0</c:formatCode>
                <c:ptCount val="4"/>
                <c:pt idx="0">
                  <c:v>1.2</c:v>
                </c:pt>
                <c:pt idx="1">
                  <c:v>0.6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</c:ser>
        <c:ser>
          <c:idx val="3"/>
          <c:order val="3"/>
          <c:tx>
            <c:strRef>
              <c:f>Лист1!$E$1</c:f>
              <c:strCache>
                <c:ptCount val="1"/>
                <c:pt idx="0">
                  <c:v>иные межбюджетные трансферты</c:v>
                </c:pt>
              </c:strCache>
            </c:strRef>
          </c:tx>
          <c:spPr>
            <a:solidFill>
              <a:srgbClr val="00FF00"/>
            </a:solidFill>
          </c:spPr>
          <c:dLbls>
            <c:dLbl>
              <c:idx val="0"/>
              <c:layout>
                <c:manualLayout>
                  <c:x val="1.0046352093086703E-2"/>
                  <c:y val="-4.0900015028876913E-2"/>
                </c:manualLayout>
              </c:layout>
              <c:showVal val="1"/>
            </c:dLbl>
            <c:dLbl>
              <c:idx val="1"/>
              <c:layout>
                <c:manualLayout>
                  <c:x val="7.8138294057343519E-3"/>
                  <c:y val="-3.4083345857397612E-2"/>
                </c:manualLayout>
              </c:layout>
              <c:showVal val="1"/>
            </c:dLbl>
            <c:dLbl>
              <c:idx val="2"/>
              <c:layout>
                <c:manualLayout>
                  <c:x val="4.4650453747052017E-3"/>
                  <c:y val="-2.7266676685918052E-2"/>
                </c:manualLayout>
              </c:layout>
              <c:showVal val="1"/>
            </c:dLbl>
            <c:dLbl>
              <c:idx val="3"/>
              <c:layout>
                <c:manualLayout>
                  <c:x val="1.4413458734324988E-2"/>
                  <c:y val="-5.1290553971200116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E$2:$E$5</c:f>
              <c:numCache>
                <c:formatCode>0.0</c:formatCode>
                <c:ptCount val="4"/>
                <c:pt idx="0">
                  <c:v>60.5</c:v>
                </c:pt>
                <c:pt idx="1">
                  <c:v>67.2</c:v>
                </c:pt>
                <c:pt idx="2">
                  <c:v>67.7</c:v>
                </c:pt>
                <c:pt idx="3">
                  <c:v>16.5</c:v>
                </c:pt>
              </c:numCache>
            </c:numRef>
          </c:val>
        </c:ser>
        <c:ser>
          <c:idx val="4"/>
          <c:order val="4"/>
          <c:tx>
            <c:strRef>
              <c:f>Лист1!$F$1</c:f>
              <c:strCache>
                <c:ptCount val="1"/>
                <c:pt idx="0">
                  <c:v>субсидии</c:v>
                </c:pt>
              </c:strCache>
            </c:strRef>
          </c:tx>
          <c:spPr>
            <a:solidFill>
              <a:srgbClr val="FF3399"/>
            </a:solidFill>
          </c:spPr>
          <c:dLbls>
            <c:dLbl>
              <c:idx val="3"/>
              <c:layout>
                <c:manualLayout>
                  <c:x val="3.7037037037037056E-2"/>
                  <c:y val="-1.2011927939025559E-2"/>
                </c:manualLayout>
              </c:layout>
              <c:showVal val="1"/>
            </c:dLbl>
            <c:showVal val="1"/>
          </c:dLbls>
          <c:cat>
            <c:strRef>
              <c:f>Лист1!$A$2:$A$5</c:f>
              <c:strCache>
                <c:ptCount val="4"/>
                <c:pt idx="0">
                  <c:v>2020 год</c:v>
                </c:pt>
                <c:pt idx="1">
                  <c:v>2021 год</c:v>
                </c:pt>
                <c:pt idx="2">
                  <c:v>2022 год</c:v>
                </c:pt>
                <c:pt idx="3">
                  <c:v>2023 год</c:v>
                </c:pt>
              </c:strCache>
            </c:strRef>
          </c:cat>
          <c:val>
            <c:numRef>
              <c:f>Лист1!$F$2:$F$5</c:f>
              <c:numCache>
                <c:formatCode>0.0</c:formatCode>
                <c:ptCount val="4"/>
                <c:pt idx="0">
                  <c:v>396.2</c:v>
                </c:pt>
                <c:pt idx="1">
                  <c:v>420.8</c:v>
                </c:pt>
                <c:pt idx="2">
                  <c:v>360.1</c:v>
                </c:pt>
                <c:pt idx="3">
                  <c:v>26.8</c:v>
                </c:pt>
              </c:numCache>
            </c:numRef>
          </c:val>
        </c:ser>
        <c:shape val="cylinder"/>
        <c:axId val="75440512"/>
        <c:axId val="75442048"/>
        <c:axId val="0"/>
      </c:bar3DChart>
      <c:catAx>
        <c:axId val="75440512"/>
        <c:scaling>
          <c:orientation val="minMax"/>
        </c:scaling>
        <c:axPos val="b"/>
        <c:tickLblPos val="nextTo"/>
        <c:crossAx val="75442048"/>
        <c:crosses val="autoZero"/>
        <c:auto val="1"/>
        <c:lblAlgn val="ctr"/>
        <c:lblOffset val="100"/>
      </c:catAx>
      <c:valAx>
        <c:axId val="75442048"/>
        <c:scaling>
          <c:orientation val="minMax"/>
        </c:scaling>
        <c:delete val="1"/>
        <c:axPos val="l"/>
        <c:numFmt formatCode="0.0" sourceLinked="1"/>
        <c:tickLblPos val="none"/>
        <c:crossAx val="75440512"/>
        <c:crosses val="autoZero"/>
        <c:crossBetween val="between"/>
      </c:valAx>
    </c:plotArea>
    <c:legend>
      <c:legendPos val="r"/>
      <c:legendEntry>
        <c:idx val="0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1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2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3"/>
        <c:txPr>
          <a:bodyPr/>
          <a:lstStyle/>
          <a:p>
            <a:pPr>
              <a:defRPr sz="1100" b="1"/>
            </a:pPr>
            <a:endParaRPr lang="ru-RU"/>
          </a:p>
        </c:txPr>
      </c:legendEntry>
      <c:legendEntry>
        <c:idx val="4"/>
        <c:txPr>
          <a:bodyPr/>
          <a:lstStyle/>
          <a:p>
            <a:pPr>
              <a:defRPr sz="1100" b="1"/>
            </a:pPr>
            <a:endParaRPr lang="ru-RU"/>
          </a:p>
        </c:txPr>
      </c:legendEntry>
      <c:layout>
        <c:manualLayout>
          <c:xMode val="edge"/>
          <c:yMode val="edge"/>
          <c:x val="6.8602133638267837E-2"/>
          <c:y val="0.79795888031559048"/>
          <c:w val="0.77846996666312285"/>
          <c:h val="0.20204106461701421"/>
        </c:manualLayout>
      </c:layout>
      <c:txPr>
        <a:bodyPr/>
        <a:lstStyle/>
        <a:p>
          <a:pPr>
            <a:defRPr sz="1400" b="1"/>
          </a:pPr>
          <a:endParaRPr lang="ru-RU"/>
        </a:p>
      </c:txPr>
    </c:legend>
    <c:plotVisOnly val="1"/>
  </c:chart>
  <c:txPr>
    <a:bodyPr/>
    <a:lstStyle/>
    <a:p>
      <a:pPr>
        <a:defRPr sz="1800"/>
      </a:pPr>
      <a:endParaRPr lang="ru-RU"/>
    </a:p>
  </c:txPr>
  <c:externalData r:id="rId1"/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4"/>
  <c:chart>
    <c:autoTitleDeleted val="1"/>
    <c:view3D>
      <c:rotX val="10"/>
      <c:hPercent val="77"/>
      <c:depthPercent val="100"/>
      <c:rAngAx val="1"/>
    </c:view3D>
    <c:plotArea>
      <c:layout/>
      <c:bar3DChart>
        <c:barDir val="col"/>
        <c:grouping val="clustered"/>
        <c:ser>
          <c:idx val="0"/>
          <c:order val="0"/>
          <c:tx>
            <c:strRef>
              <c:f>Sheet1!$A$3</c:f>
              <c:strCache>
                <c:ptCount val="1"/>
                <c:pt idx="0">
                  <c:v>Расходы</c:v>
                </c:pt>
              </c:strCache>
            </c:strRef>
          </c:tx>
          <c:dPt>
            <c:idx val="0"/>
            <c:spPr>
              <a:solidFill>
                <a:schemeClr val="tx2">
                  <a:lumMod val="40000"/>
                  <a:lumOff val="60000"/>
                </a:schemeClr>
              </a:solidFill>
            </c:spPr>
          </c:dPt>
          <c:dPt>
            <c:idx val="1"/>
            <c:spPr>
              <a:solidFill>
                <a:srgbClr val="FFCCFF"/>
              </a:solidFill>
            </c:spPr>
          </c:dPt>
          <c:dPt>
            <c:idx val="2"/>
            <c:spPr>
              <a:solidFill>
                <a:srgbClr val="B2FC9E"/>
              </a:solidFill>
            </c:spPr>
          </c:dPt>
          <c:dPt>
            <c:idx val="3"/>
            <c:spPr>
              <a:solidFill>
                <a:srgbClr val="FFFF99"/>
              </a:solidFill>
            </c:spPr>
          </c:dPt>
          <c:dPt>
            <c:idx val="4"/>
            <c:spPr>
              <a:solidFill>
                <a:schemeClr val="accent2">
                  <a:lumMod val="40000"/>
                  <a:lumOff val="60000"/>
                </a:schemeClr>
              </a:solidFill>
            </c:spPr>
          </c:dPt>
          <c:dLbls>
            <c:dLbl>
              <c:idx val="0"/>
              <c:layout>
                <c:manualLayout>
                  <c:x val="1.8550664799103243E-2"/>
                  <c:y val="0.2065384679409864"/>
                </c:manualLayout>
              </c:layout>
              <c:showVal val="1"/>
            </c:dLbl>
            <c:dLbl>
              <c:idx val="1"/>
              <c:layout>
                <c:manualLayout>
                  <c:x val="2.0096553532361828E-2"/>
                  <c:y val="0.21032518307438025"/>
                </c:manualLayout>
              </c:layout>
              <c:showVal val="1"/>
            </c:dLbl>
            <c:dLbl>
              <c:idx val="2"/>
              <c:layout>
                <c:manualLayout>
                  <c:x val="1.5458887332586121E-2"/>
                  <c:y val="0.23308387447279574"/>
                </c:manualLayout>
              </c:layout>
              <c:showVal val="1"/>
            </c:dLbl>
            <c:dLbl>
              <c:idx val="3"/>
              <c:layout>
                <c:manualLayout>
                  <c:x val="1.8550664799103243E-2"/>
                  <c:y val="0.23956336060847741"/>
                </c:manualLayout>
              </c:layout>
              <c:showVal val="1"/>
            </c:dLbl>
            <c:dLbl>
              <c:idx val="4"/>
              <c:layout>
                <c:manualLayout>
                  <c:x val="2.3188330998879049E-2"/>
                  <c:y val="0.21246010499442664"/>
                </c:manualLayout>
              </c:layout>
              <c:showVal val="1"/>
            </c:dLbl>
            <c:txPr>
              <a:bodyPr/>
              <a:lstStyle/>
              <a:p>
                <a:pPr>
                  <a:defRPr>
                    <a:solidFill>
                      <a:schemeClr val="tx1">
                        <a:lumMod val="85000"/>
                        <a:lumOff val="15000"/>
                      </a:schemeClr>
                    </a:solidFill>
                  </a:defRPr>
                </a:pPr>
                <a:endParaRPr lang="ru-RU"/>
              </a:p>
            </c:txPr>
            <c:showVal val="1"/>
          </c:dLbls>
          <c:cat>
            <c:strRef>
              <c:f>Sheet1!$B$1:$F$1</c:f>
              <c:strCache>
                <c:ptCount val="5"/>
                <c:pt idx="0">
                  <c:v>2019 год</c:v>
                </c:pt>
                <c:pt idx="1">
                  <c:v>2020 год</c:v>
                </c:pt>
                <c:pt idx="2">
                  <c:v>2021 год</c:v>
                </c:pt>
                <c:pt idx="3">
                  <c:v>2022 год</c:v>
                </c:pt>
                <c:pt idx="4">
                  <c:v>2023 год</c:v>
                </c:pt>
              </c:strCache>
            </c:strRef>
          </c:cat>
          <c:val>
            <c:numRef>
              <c:f>Sheet1!$B$3:$F$3</c:f>
              <c:numCache>
                <c:formatCode>General</c:formatCode>
                <c:ptCount val="5"/>
                <c:pt idx="0">
                  <c:v>1793.7</c:v>
                </c:pt>
                <c:pt idx="1">
                  <c:v>1819.8</c:v>
                </c:pt>
                <c:pt idx="2">
                  <c:v>1773.42</c:v>
                </c:pt>
                <c:pt idx="3">
                  <c:v>1660.6</c:v>
                </c:pt>
                <c:pt idx="4">
                  <c:v>1284.3</c:v>
                </c:pt>
              </c:numCache>
            </c:numRef>
          </c:val>
        </c:ser>
        <c:dLbls>
          <c:showVal val="1"/>
        </c:dLbls>
        <c:gapWidth val="0"/>
        <c:gapDepth val="0"/>
        <c:shape val="cylinder"/>
        <c:axId val="77048448"/>
        <c:axId val="77058432"/>
        <c:axId val="0"/>
      </c:bar3DChart>
      <c:catAx>
        <c:axId val="77048448"/>
        <c:scaling>
          <c:orientation val="minMax"/>
        </c:scaling>
        <c:axPos val="b"/>
        <c:numFmt formatCode="General" sourceLinked="1"/>
        <c:majorTickMark val="none"/>
        <c:tickLblPos val="low"/>
        <c:txPr>
          <a:bodyPr rot="0" vert="horz"/>
          <a:lstStyle/>
          <a:p>
            <a: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pPr>
            <a:endParaRPr lang="ru-RU"/>
          </a:p>
        </c:txPr>
        <c:crossAx val="77058432"/>
        <c:crosses val="autoZero"/>
        <c:auto val="1"/>
        <c:lblAlgn val="ctr"/>
        <c:lblOffset val="100"/>
        <c:tickLblSkip val="1"/>
        <c:tickMarkSkip val="1"/>
      </c:catAx>
      <c:valAx>
        <c:axId val="77058432"/>
        <c:scaling>
          <c:orientation val="minMax"/>
        </c:scaling>
        <c:delete val="1"/>
        <c:axPos val="l"/>
        <c:numFmt formatCode="General" sourceLinked="1"/>
        <c:tickLblPos val="none"/>
        <c:crossAx val="77048448"/>
        <c:crosses val="autoZero"/>
        <c:crossBetween val="between"/>
      </c:valAx>
      <c:spPr>
        <a:effectLst>
          <a:outerShdw blurRad="50800" dist="749300" dir="5400000" algn="ctr" rotWithShape="0">
            <a:srgbClr val="4F81BD">
              <a:lumMod val="75000"/>
            </a:srgbClr>
          </a:outerShdw>
        </a:effectLst>
      </c:spPr>
    </c:plotArea>
    <c:plotVisOnly val="1"/>
    <c:dispBlanksAs val="gap"/>
  </c:chart>
  <c:txPr>
    <a:bodyPr/>
    <a:lstStyle/>
    <a:p>
      <a:pPr>
        <a:defRPr sz="1800" b="1"/>
      </a:pPr>
      <a:endParaRPr lang="ru-RU"/>
    </a:p>
  </c:txPr>
  <c:externalData r:id="rId1"/>
  <c:userShapes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7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8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31579</cdr:x>
      <cdr:y>0.27586</cdr:y>
    </cdr:from>
    <cdr:to>
      <cdr:x>0.6</cdr:x>
      <cdr:y>0.52319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285884" y="532086"/>
          <a:ext cx="115729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fr-FR"/>
          </a:defPPr>
          <a:lvl1pPr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1pPr>
          <a:lvl2pPr marL="4572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2pPr>
          <a:lvl3pPr marL="9144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3pPr>
          <a:lvl4pPr marL="13716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4pPr>
          <a:lvl5pPr marL="1828800" algn="l" rtl="0" eaLnBrk="0" fontAlgn="base" hangingPunct="0">
            <a:spcBef>
              <a:spcPct val="0"/>
            </a:spcBef>
            <a:spcAft>
              <a:spcPct val="0"/>
            </a:spcAft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5pPr>
          <a:lvl6pPr marL="22860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6pPr>
          <a:lvl7pPr marL="27432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7pPr>
          <a:lvl8pPr marL="32004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8pPr>
          <a:lvl9pPr marL="3657600" algn="l" defTabSz="914400" rtl="0" eaLnBrk="1" latinLnBrk="0" hangingPunct="1">
            <a:defRPr sz="2000" kern="1200">
              <a:solidFill>
                <a:sysClr val="windowText" lastClr="000000"/>
              </a:solidFill>
              <a:latin typeface="Times New Roman" pitchFamily="18" charset="0"/>
            </a:defRPr>
          </a:lvl9pPr>
        </a:lstStyle>
        <a:p xmlns:a="http://schemas.openxmlformats.org/drawingml/2006/main">
          <a:r>
            <a:rPr lang="ru-RU" sz="2500" dirty="0" smtClean="0"/>
            <a:t>55,1 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1</cdr:x>
      <cdr:y>0.48276</cdr:y>
    </cdr:from>
    <cdr:to>
      <cdr:x>0.44</cdr:x>
      <cdr:y>0.71303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357190" y="1000135"/>
          <a:ext cx="1214446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endParaRPr lang="ru-RU" sz="2500" dirty="0" smtClean="0"/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04762</cdr:x>
      <cdr:y>0.44828</cdr:y>
    </cdr:from>
    <cdr:to>
      <cdr:x>0.48</cdr:x>
      <cdr:y>0.68678</cdr:y>
    </cdr:to>
    <cdr:sp macro="" textlink="">
      <cdr:nvSpPr>
        <cdr:cNvPr id="2" name="TextBox 9"/>
        <cdr:cNvSpPr txBox="1"/>
      </cdr:nvSpPr>
      <cdr:spPr>
        <a:xfrm xmlns:a="http://schemas.openxmlformats.org/drawingml/2006/main">
          <a:off x="142877" y="896678"/>
          <a:ext cx="1297314" cy="4770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Calibri"/>
            </a:defRPr>
          </a:lvl1pPr>
          <a:lvl2pPr marL="457200" indent="0">
            <a:defRPr sz="1100">
              <a:latin typeface="Calibri"/>
            </a:defRPr>
          </a:lvl2pPr>
          <a:lvl3pPr marL="914400" indent="0">
            <a:defRPr sz="1100">
              <a:latin typeface="Calibri"/>
            </a:defRPr>
          </a:lvl3pPr>
          <a:lvl4pPr marL="1371600" indent="0">
            <a:defRPr sz="1100">
              <a:latin typeface="Calibri"/>
            </a:defRPr>
          </a:lvl4pPr>
          <a:lvl5pPr marL="1828800" indent="0">
            <a:defRPr sz="1100">
              <a:latin typeface="Calibri"/>
            </a:defRPr>
          </a:lvl5pPr>
          <a:lvl6pPr marL="2286000" indent="0">
            <a:defRPr sz="1100">
              <a:latin typeface="Calibri"/>
            </a:defRPr>
          </a:lvl6pPr>
          <a:lvl7pPr marL="2743200" indent="0">
            <a:defRPr sz="1100">
              <a:latin typeface="Calibri"/>
            </a:defRPr>
          </a:lvl7pPr>
          <a:lvl8pPr marL="3200400" indent="0">
            <a:defRPr sz="1100">
              <a:latin typeface="Calibri"/>
            </a:defRPr>
          </a:lvl8pPr>
          <a:lvl9pPr marL="3657600" indent="0">
            <a:defRPr sz="1100">
              <a:latin typeface="Calibri"/>
            </a:defRPr>
          </a:lvl9pPr>
        </a:lstStyle>
        <a:p xmlns:a="http://schemas.openxmlformats.org/drawingml/2006/main">
          <a:r>
            <a:rPr lang="ru-RU" sz="2500" dirty="0" smtClean="0">
              <a:latin typeface="Times New Roman" pitchFamily="18" charset="0"/>
              <a:cs typeface="Times New Roman" pitchFamily="18" charset="0"/>
            </a:rPr>
            <a:t>55,4</a:t>
          </a:r>
          <a:r>
            <a:rPr lang="ru-RU" sz="2000" dirty="0" smtClean="0"/>
            <a:t> 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79131</cdr:x>
      <cdr:y>0.05405</cdr:y>
    </cdr:from>
    <cdr:to>
      <cdr:x>0.98062</cdr:x>
      <cdr:y>0.19815</cdr:y>
    </cdr:to>
    <cdr:sp macro="" textlink="">
      <cdr:nvSpPr>
        <cdr:cNvPr id="1025" name="Text Box 1"/>
        <cdr:cNvSpPr txBox="1">
          <a:spLocks xmlns:a="http://schemas.openxmlformats.org/drawingml/2006/main" noChangeArrowheads="1"/>
        </cdr:cNvSpPr>
      </cdr:nvSpPr>
      <cdr:spPr bwMode="auto">
        <a:xfrm xmlns:a="http://schemas.openxmlformats.org/drawingml/2006/main">
          <a:off x="6500858" y="285753"/>
          <a:ext cx="1555246" cy="761747"/>
        </a:xfrm>
        <a:prstGeom xmlns:a="http://schemas.openxmlformats.org/drawingml/2006/main" prst="rect">
          <a:avLst/>
        </a:prstGeom>
        <a:noFill xmlns:a="http://schemas.openxmlformats.org/drawingml/2006/main"/>
        <a:ln xmlns:a="http://schemas.openxmlformats.org/drawingml/2006/main" w="9525" algn="ctr">
          <a:noFill/>
          <a:miter lim="800000"/>
          <a:headEnd/>
          <a:tailEnd/>
        </a:ln>
        <a:effectLst xmlns:a="http://schemas.openxmlformats.org/drawingml/2006/main"/>
      </cdr:spPr>
      <cdr:txBody>
        <a:bodyPr xmlns:a="http://schemas.openxmlformats.org/drawingml/2006/main" wrap="square" lIns="91440" tIns="45720" rIns="91440" bIns="45720" anchor="t" upright="1">
          <a:spAutoFit/>
        </a:bodyPr>
        <a:lstStyle xmlns:a="http://schemas.openxmlformats.org/drawingml/2006/main"/>
        <a:p xmlns:a="http://schemas.openxmlformats.org/drawingml/2006/main">
          <a:pPr algn="l" rtl="0">
            <a:defRPr sz="1000"/>
          </a:pPr>
          <a:r>
            <a:rPr lang="ru-RU" sz="2000" b="1" i="0" u="none" strike="noStrike" baseline="0" dirty="0" smtClean="0">
              <a:solidFill>
                <a:schemeClr val="tx1">
                  <a:lumMod val="85000"/>
                  <a:lumOff val="15000"/>
                </a:schemeClr>
              </a:solidFill>
              <a:latin typeface="Calibri"/>
              <a:cs typeface="Calibri"/>
            </a:rPr>
            <a:t>млн.рублей</a:t>
          </a:r>
          <a:endParaRPr lang="ru-RU" sz="2000" b="1" i="0" u="none" strike="noStrike" baseline="0" dirty="0">
            <a:solidFill>
              <a:schemeClr val="tx1">
                <a:lumMod val="85000"/>
                <a:lumOff val="15000"/>
              </a:schemeClr>
            </a:solidFill>
            <a:latin typeface="Calibri"/>
            <a:cs typeface="Calibri"/>
          </a:endParaRPr>
        </a:p>
        <a:p xmlns:a="http://schemas.openxmlformats.org/drawingml/2006/main">
          <a:pPr algn="l" rtl="0">
            <a:defRPr sz="1000"/>
          </a:pPr>
          <a:endParaRPr lang="ru-RU" sz="2350" b="1" i="0" u="none" strike="noStrike" baseline="0" dirty="0">
            <a:solidFill>
              <a:schemeClr val="tx1">
                <a:lumMod val="85000"/>
                <a:lumOff val="15000"/>
              </a:schemeClr>
            </a:solidFill>
            <a:latin typeface="Calibri"/>
            <a:cs typeface="Calibri"/>
          </a:endParaRPr>
        </a:p>
      </cdr:txBody>
    </cdr:sp>
  </cdr:relSizeAnchor>
</c:userShapes>
</file>

<file path=ppt/drawings/drawing5.xml><?xml version="1.0" encoding="utf-8"?>
<c:userShapes xmlns:c="http://schemas.openxmlformats.org/drawingml/2006/chart">
  <cdr:relSizeAnchor xmlns:cdr="http://schemas.openxmlformats.org/drawingml/2006/chartDrawing">
    <cdr:from>
      <cdr:x>0.25588</cdr:x>
      <cdr:y>0.41751</cdr:y>
    </cdr:from>
    <cdr:to>
      <cdr:x>0.4211</cdr:x>
      <cdr:y>0.62579</cdr:y>
    </cdr:to>
    <cdr:sp macro="" textlink="">
      <cdr:nvSpPr>
        <cdr:cNvPr id="2" name="TextBox 1"/>
        <cdr:cNvSpPr txBox="1"/>
      </cdr:nvSpPr>
      <cdr:spPr>
        <a:xfrm xmlns:a="http://schemas.openxmlformats.org/drawingml/2006/main">
          <a:off x="2339752" y="2664296"/>
          <a:ext cx="1510772" cy="1329103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vertOverflow="clip" wrap="square" rtlCol="0"/>
        <a:lstStyle xmlns:a="http://schemas.openxmlformats.org/drawingml/2006/main"/>
        <a:p xmlns:a="http://schemas.openxmlformats.org/drawingml/2006/main">
          <a:endParaRPr lang="ru-RU" sz="1100" dirty="0"/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7384965F-707A-4519-B564-3D3F1EFB0C57}" type="datetimeFigureOut">
              <a:rPr lang="fr-FR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fr-CA" noProof="0" smtClean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fr-FR" noProof="0" smtClean="0"/>
              <a:t>Cliquez pour modifier les styles du texte du masque</a:t>
            </a:r>
          </a:p>
          <a:p>
            <a:pPr lvl="1"/>
            <a:r>
              <a:rPr lang="fr-FR" noProof="0" smtClean="0"/>
              <a:t>Deuxième niveau</a:t>
            </a:r>
          </a:p>
          <a:p>
            <a:pPr lvl="2"/>
            <a:r>
              <a:rPr lang="fr-FR" noProof="0" smtClean="0"/>
              <a:t>Troisième niveau</a:t>
            </a:r>
          </a:p>
          <a:p>
            <a:pPr lvl="3"/>
            <a:r>
              <a:rPr lang="fr-FR" noProof="0" smtClean="0"/>
              <a:t>Quatrième niveau</a:t>
            </a:r>
          </a:p>
          <a:p>
            <a:pPr lvl="4"/>
            <a:r>
              <a:rPr lang="fr-FR" noProof="0" smtClean="0"/>
              <a:t>Cinquième niveau</a:t>
            </a:r>
            <a:endParaRPr lang="fr-CA" noProof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fld id="{0BD269F5-E4B4-4C4B-B252-CC965B7930F2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BD269F5-E4B4-4C4B-B252-CC965B7930F2}" type="slidenum">
              <a:rPr lang="fr-CA" smtClean="0"/>
              <a:pPr>
                <a:defRPr/>
              </a:pPr>
              <a:t>10</a:t>
            </a:fld>
            <a:endParaRPr lang="fr-CA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4450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4451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83A77E5-D280-4570-A409-CAD5BC180871}" type="slidenum">
              <a:rPr lang="fr-CA" smtClean="0"/>
              <a:pPr>
                <a:defRPr/>
              </a:pPr>
              <a:t>11</a:t>
            </a:fld>
            <a:endParaRPr lang="fr-CA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474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5475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5332F500-E0D6-420F-872B-5FFDFA63DC73}" type="slidenum">
              <a:rPr lang="fr-CA" smtClean="0"/>
              <a:pPr>
                <a:defRPr/>
              </a:pPr>
              <a:t>12</a:t>
            </a:fld>
            <a:endParaRPr lang="fr-CA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498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6499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161C133-730E-46BA-B594-B63251DBCEA3}" type="slidenum">
              <a:rPr lang="fr-CA" smtClean="0"/>
              <a:pPr>
                <a:defRPr/>
              </a:pPr>
              <a:t>13</a:t>
            </a:fld>
            <a:endParaRPr lang="fr-CA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08547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ru-RU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954A7E36-AC24-4D5E-9D73-25D00BAE399B}" type="slidenum">
              <a:rPr lang="fr-CA" smtClean="0"/>
              <a:pPr>
                <a:defRPr/>
              </a:pPr>
              <a:t>15</a:t>
            </a:fld>
            <a:endParaRPr lang="fr-CA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ctrTitle"/>
          </p:nvPr>
        </p:nvSpPr>
        <p:spPr>
          <a:xfrm>
            <a:off x="533400" y="1371600"/>
            <a:ext cx="7851648" cy="1828800"/>
          </a:xfrm>
          <a:ln>
            <a:noFill/>
          </a:ln>
        </p:spPr>
        <p:txBody>
          <a:bodyPr vert="horz" tIns="0" rIns="18288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  <a:contourClr>
                <a:schemeClr val="tx2"/>
              </a:contourClr>
            </a:sp3d>
          </a:bodyPr>
          <a:lstStyle>
            <a:lvl1pPr algn="r" rtl="0">
              <a:spcBef>
                <a:spcPct val="0"/>
              </a:spcBef>
              <a:buNone/>
              <a:defRPr sz="5600" b="1">
                <a:ln>
                  <a:noFill/>
                </a:ln>
                <a:solidFill>
                  <a:schemeClr val="accent3">
                    <a:tint val="90000"/>
                    <a:satMod val="120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7" name="Подзаголовок 16"/>
          <p:cNvSpPr>
            <a:spLocks noGrp="1"/>
          </p:cNvSpPr>
          <p:nvPr>
            <p:ph type="subTitle" idx="1"/>
          </p:nvPr>
        </p:nvSpPr>
        <p:spPr>
          <a:xfrm>
            <a:off x="533400" y="3228536"/>
            <a:ext cx="7854696" cy="1752600"/>
          </a:xfrm>
        </p:spPr>
        <p:txBody>
          <a:bodyPr lIns="0" rIns="18288"/>
          <a:lstStyle>
            <a:lvl1pPr marL="0" marR="45720" indent="0" algn="r">
              <a:buNone/>
              <a:defRPr>
                <a:solidFill>
                  <a:schemeClr val="tx1"/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30" name="Дата 2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27" name="Номер слайда 2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914401"/>
            <a:ext cx="2057400" cy="5211763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914401"/>
            <a:ext cx="6019800" cy="5211763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Only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/>
          </p:nvPr>
        </p:nvSpPr>
        <p:spPr>
          <a:xfrm>
            <a:off x="457200" y="274638"/>
            <a:ext cx="8229600" cy="58515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457E99-346B-4970-A0C9-D726856D9DE6}" type="datetimeFigureOut">
              <a:rPr lang="fr-FR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4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5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992A85-5947-46F2-98AB-4188733B85EF}" type="slidenum">
              <a:rPr lang="fr-CA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Скругленный прямоугольник 24"/>
          <p:cNvSpPr/>
          <p:nvPr userDrawn="1"/>
        </p:nvSpPr>
        <p:spPr>
          <a:xfrm>
            <a:off x="205691" y="194904"/>
            <a:ext cx="8732618" cy="6468193"/>
          </a:xfrm>
          <a:prstGeom prst="roundRect">
            <a:avLst>
              <a:gd name="adj" fmla="val 1377"/>
            </a:avLst>
          </a:prstGeom>
          <a:solidFill>
            <a:schemeClr val="bg1"/>
          </a:solidFill>
          <a:ln w="3175">
            <a:solidFill>
              <a:schemeClr val="accent6">
                <a:lumMod val="75000"/>
                <a:alpha val="39000"/>
              </a:schemeClr>
            </a:solidFill>
          </a:ln>
          <a:effectLst>
            <a:outerShdw blurRad="63500" sx="102000" sy="102000" algn="ctr" rotWithShape="0">
              <a:schemeClr val="accent6">
                <a:lumMod val="40000"/>
                <a:lumOff val="6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2" name="Группа 17"/>
          <p:cNvGrpSpPr/>
          <p:nvPr userDrawn="1"/>
        </p:nvGrpSpPr>
        <p:grpSpPr>
          <a:xfrm>
            <a:off x="312547" y="294556"/>
            <a:ext cx="8451814" cy="576066"/>
            <a:chOff x="131572" y="213830"/>
            <a:chExt cx="8451814" cy="843482"/>
          </a:xfrm>
        </p:grpSpPr>
        <p:sp>
          <p:nvSpPr>
            <p:cNvPr id="21" name="Прямоугольник с двумя скругленными соседними углами 20"/>
            <p:cNvSpPr/>
            <p:nvPr/>
          </p:nvSpPr>
          <p:spPr>
            <a:xfrm rot="16200000" flipH="1">
              <a:off x="-121232" y="466636"/>
              <a:ext cx="843479" cy="337872"/>
            </a:xfrm>
            <a:prstGeom prst="round2SameRect">
              <a:avLst>
                <a:gd name="adj1" fmla="val 50000"/>
                <a:gd name="adj2" fmla="val 0"/>
              </a:avLst>
            </a:prstGeom>
            <a:solidFill>
              <a:schemeClr val="accent6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2" name="Прямоугольник 21"/>
            <p:cNvSpPr/>
            <p:nvPr userDrawn="1"/>
          </p:nvSpPr>
          <p:spPr>
            <a:xfrm>
              <a:off x="498019" y="213830"/>
              <a:ext cx="8085367" cy="843482"/>
            </a:xfrm>
            <a:prstGeom prst="rect">
              <a:avLst/>
            </a:prstGeom>
            <a:gradFill flip="none" rotWithShape="1">
              <a:gsLst>
                <a:gs pos="0">
                  <a:schemeClr val="accent6">
                    <a:lumMod val="75000"/>
                  </a:schemeClr>
                </a:gs>
                <a:gs pos="75000">
                  <a:schemeClr val="accent6">
                    <a:lumMod val="75000"/>
                  </a:schemeClr>
                </a:gs>
                <a:gs pos="100000">
                  <a:schemeClr val="accent3">
                    <a:lumMod val="60000"/>
                    <a:lumOff val="40000"/>
                  </a:schemeClr>
                </a:gs>
              </a:gsLst>
              <a:lin ang="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15" name="Номер слайда 5"/>
          <p:cNvSpPr>
            <a:spLocks noGrp="1"/>
          </p:cNvSpPr>
          <p:nvPr>
            <p:ph type="sldNum" sz="quarter" idx="11"/>
          </p:nvPr>
        </p:nvSpPr>
        <p:spPr>
          <a:xfrm>
            <a:off x="8442592" y="6349999"/>
            <a:ext cx="526372" cy="365125"/>
          </a:xfrm>
        </p:spPr>
        <p:txBody>
          <a:bodyPr/>
          <a:lstStyle>
            <a:lvl1pPr algn="r">
              <a:defRPr>
                <a:solidFill>
                  <a:schemeClr val="bg1">
                    <a:lumMod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62456F9-3366-4DBD-A6CF-2E862782984F}" type="slidenum">
              <a:rPr lang="ru-RU" smtClean="0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/>
          </p:nvPr>
        </p:nvSpPr>
        <p:spPr>
          <a:xfrm>
            <a:off x="678993" y="308273"/>
            <a:ext cx="7607757" cy="543299"/>
          </a:xfrm>
        </p:spPr>
        <p:txBody>
          <a:bodyPr/>
          <a:lstStyle>
            <a:lvl1pPr algn="l">
              <a:lnSpc>
                <a:spcPts val="2000"/>
              </a:lnSpc>
              <a:defRPr lang="ru-RU" sz="2000" kern="1200" dirty="0">
                <a:ln w="3175" cmpd="sng">
                  <a:solidFill>
                    <a:schemeClr val="bg1"/>
                  </a:solidFill>
                  <a:prstDash val="solid"/>
                </a:ln>
                <a:solidFill>
                  <a:schemeClr val="bg1"/>
                </a:solidFill>
                <a:latin typeface="+mn-lt"/>
                <a:ea typeface="Tahoma" pitchFamily="34" charset="0"/>
                <a:cs typeface="Calibri Light" panose="020F030202020403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xmlns="" val="33110236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30352" y="1316736"/>
            <a:ext cx="7772400" cy="1362456"/>
          </a:xfrm>
          <a:ln>
            <a:noFill/>
          </a:ln>
        </p:spPr>
        <p:txBody>
          <a:bodyPr vert="horz" tIns="0" bIns="0" anchor="b">
            <a:no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bevelT w="38100" h="38100"/>
            </a:sp3d>
          </a:bodyPr>
          <a:lstStyle>
            <a:lvl1pPr algn="l" rtl="0">
              <a:spcBef>
                <a:spcPct val="0"/>
              </a:spcBef>
              <a:buNone/>
              <a:defRPr lang="en-US" sz="5600" b="1" cap="none" baseline="0" dirty="0">
                <a:ln w="635">
                  <a:noFill/>
                </a:ln>
                <a:solidFill>
                  <a:schemeClr val="accent4">
                    <a:tint val="90000"/>
                    <a:satMod val="125000"/>
                  </a:schemeClr>
                </a:solidFill>
                <a:effectLst>
                  <a:outerShdw blurRad="38100" dist="25400" dir="5400000" algn="tl" rotWithShape="0">
                    <a:srgbClr val="000000">
                      <a:alpha val="43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530352" y="2704664"/>
            <a:ext cx="7772400" cy="1509712"/>
          </a:xfrm>
        </p:spPr>
        <p:txBody>
          <a:bodyPr lIns="45720" rIns="45720" anchor="t"/>
          <a:lstStyle>
            <a:lvl1pPr marL="0" indent="0">
              <a:buNone/>
              <a:defRPr sz="2200">
                <a:solidFill>
                  <a:schemeClr val="tx1"/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920085"/>
            <a:ext cx="4038600" cy="4434840"/>
          </a:xfrm>
        </p:spPr>
        <p:txBody>
          <a:bodyPr/>
          <a:lstStyle>
            <a:lvl1pPr>
              <a:defRPr sz="26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</p:spPr>
        <p:txBody>
          <a:bodyPr tIns="45720" anchor="b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55248"/>
            <a:ext cx="4040188" cy="659352"/>
          </a:xfrm>
        </p:spPr>
        <p:txBody>
          <a:bodyPr lIns="45720" tIns="0" rIns="45720" bIns="0" anchor="ctr">
            <a:noAutofit/>
          </a:bodyPr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4645025" y="1859757"/>
            <a:ext cx="4041775" cy="654843"/>
          </a:xfrm>
        </p:spPr>
        <p:txBody>
          <a:bodyPr lIns="45720" tIns="0" rIns="45720" bIns="0" anchor="ctr"/>
          <a:lstStyle>
            <a:lvl1pPr marL="0" indent="0">
              <a:buNone/>
              <a:defRPr sz="2400" b="1" cap="none" baseline="0">
                <a:solidFill>
                  <a:schemeClr val="tx2"/>
                </a:solidFill>
                <a:effectLst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57200" y="2514600"/>
            <a:ext cx="4040188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514600"/>
            <a:ext cx="4041775" cy="3845720"/>
          </a:xfrm>
        </p:spPr>
        <p:txBody>
          <a:bodyPr tIns="0"/>
          <a:lstStyle>
            <a:lvl1pPr>
              <a:defRPr sz="22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704088"/>
            <a:ext cx="8305800" cy="1143000"/>
          </a:xfrm>
        </p:spPr>
        <p:txBody>
          <a:bodyPr vert="horz" tIns="45720" bIns="0" anchor="b">
            <a:normAutofit/>
            <a:scene3d>
              <a:camera prst="orthographicFront"/>
              <a:lightRig rig="freezing" dir="t">
                <a:rot lat="0" lon="0" rev="5640000"/>
              </a:lightRig>
            </a:scene3d>
            <a:sp3d prstMaterial="flat">
              <a:contourClr>
                <a:schemeClr val="tx2"/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514352"/>
            <a:ext cx="2743200" cy="1162050"/>
          </a:xfrm>
        </p:spPr>
        <p:txBody>
          <a:bodyPr lIns="0" anchor="b">
            <a:noAutofit/>
          </a:bodyPr>
          <a:lstStyle>
            <a:lvl1pPr algn="l" rtl="0">
              <a:spcBef>
                <a:spcPct val="0"/>
              </a:spcBef>
              <a:buNone/>
              <a:defRPr sz="2600" b="0">
                <a:ln>
                  <a:noFill/>
                </a:ln>
                <a:solidFill>
                  <a:schemeClr val="tx2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685800" y="1676400"/>
            <a:ext cx="2743200" cy="4572000"/>
          </a:xfrm>
        </p:spPr>
        <p:txBody>
          <a:bodyPr lIns="18288" rIns="18288"/>
          <a:lstStyle>
            <a:lvl1pPr marL="0" indent="0" algn="l">
              <a:buNone/>
              <a:defRPr sz="1400"/>
            </a:lvl1pPr>
            <a:lvl2pPr indent="0" algn="l">
              <a:buNone/>
              <a:defRPr sz="1200"/>
            </a:lvl2pPr>
            <a:lvl3pPr indent="0" algn="l">
              <a:buNone/>
              <a:defRPr sz="1000"/>
            </a:lvl3pPr>
            <a:lvl4pPr indent="0" algn="l">
              <a:buNone/>
              <a:defRPr sz="900"/>
            </a:lvl4pPr>
            <a:lvl5pPr indent="0" algn="l"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3575050" y="1676400"/>
            <a:ext cx="5111750" cy="4572000"/>
          </a:xfrm>
        </p:spPr>
        <p:txBody>
          <a:bodyPr tIns="0"/>
          <a:lstStyle>
            <a:lvl1pPr>
              <a:defRPr sz="2800"/>
            </a:lvl1pPr>
            <a:lvl2pPr>
              <a:defRPr sz="26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с одним вырезанным скругленным углом 8"/>
          <p:cNvSpPr/>
          <p:nvPr/>
        </p:nvSpPr>
        <p:spPr>
          <a:xfrm rot="420000" flipV="1">
            <a:off x="3165753" y="1108077"/>
            <a:ext cx="5257800" cy="4114800"/>
          </a:xfrm>
          <a:prstGeom prst="snipRoundRect">
            <a:avLst>
              <a:gd name="adj1" fmla="val 0"/>
              <a:gd name="adj2" fmla="val 3646"/>
            </a:avLst>
          </a:prstGeom>
          <a:solidFill>
            <a:srgbClr val="FFFFFF"/>
          </a:solidFill>
          <a:ln w="3175" cap="rnd" cmpd="sng" algn="ctr">
            <a:solidFill>
              <a:srgbClr val="C0C0C0"/>
            </a:solidFill>
            <a:prstDash val="solid"/>
          </a:ln>
          <a:effectLst>
            <a:outerShdw blurRad="63500" dist="38500" dir="7500000" sx="98500" sy="100080" kx="100000" algn="tl" rotWithShape="0">
              <a:srgbClr val="000000">
                <a:alpha val="25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12" name="Прямоугольный треугольник 11"/>
          <p:cNvSpPr/>
          <p:nvPr/>
        </p:nvSpPr>
        <p:spPr>
          <a:xfrm rot="420000" flipV="1">
            <a:off x="8004134" y="5359769"/>
            <a:ext cx="155448" cy="155448"/>
          </a:xfrm>
          <a:prstGeom prst="rtTriangle">
            <a:avLst/>
          </a:prstGeom>
          <a:solidFill>
            <a:srgbClr val="FFFFFF"/>
          </a:solidFill>
          <a:ln w="12700" cap="flat" cmpd="sng" algn="ctr">
            <a:solidFill>
              <a:srgbClr val="FFFFFF"/>
            </a:solidFill>
            <a:prstDash val="solid"/>
            <a:bevel/>
          </a:ln>
          <a:effectLst>
            <a:outerShdw blurRad="19685" dist="6350" dir="12900000" algn="tl" rotWithShape="0">
              <a:srgbClr val="000000">
                <a:alpha val="47000"/>
              </a:srgbClr>
            </a:outerShdw>
          </a:effectLst>
        </p:spPr>
        <p:style>
          <a:lnRef idx="2">
            <a:schemeClr val="accent1"/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eaLnBrk="1" latinLnBrk="0" hangingPunct="1"/>
            <a:endParaRPr kumimoji="0" lang="en-US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1176996"/>
            <a:ext cx="2212848" cy="1582621"/>
          </a:xfrm>
        </p:spPr>
        <p:txBody>
          <a:bodyPr vert="horz" lIns="45720" tIns="45720" rIns="45720" bIns="45720" anchor="b"/>
          <a:lstStyle>
            <a:lvl1pPr algn="l">
              <a:buNone/>
              <a:defRPr sz="2000" b="1">
                <a:solidFill>
                  <a:schemeClr val="tx2"/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600" y="2828785"/>
            <a:ext cx="2209800" cy="2179320"/>
          </a:xfrm>
        </p:spPr>
        <p:txBody>
          <a:bodyPr lIns="64008" rIns="45720" bIns="45720" anchor="t"/>
          <a:lstStyle>
            <a:lvl1pPr marL="0" indent="0" algn="l">
              <a:spcBef>
                <a:spcPts val="250"/>
              </a:spcBef>
              <a:buFontTx/>
              <a:buNone/>
              <a:defRPr sz="13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endParaRPr lang="fr-CA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8077200" y="6356350"/>
            <a:ext cx="609600" cy="365125"/>
          </a:xfrm>
        </p:spPr>
        <p:txBody>
          <a:bodyPr/>
          <a:lstStyle/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 rot="420000">
            <a:off x="3485793" y="1199517"/>
            <a:ext cx="4617720" cy="3931920"/>
          </a:xfrm>
          <a:prstGeom prst="rect">
            <a:avLst/>
          </a:prstGeom>
          <a:solidFill>
            <a:schemeClr val="bg2"/>
          </a:solidFill>
          <a:ln w="3000" cap="rnd">
            <a:solidFill>
              <a:srgbClr val="C0C0C0"/>
            </a:solidFill>
            <a:round/>
          </a:ln>
          <a:effectLst/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10" name="Полилиния 9"/>
          <p:cNvSpPr>
            <a:spLocks/>
          </p:cNvSpPr>
          <p:nvPr/>
        </p:nvSpPr>
        <p:spPr bwMode="auto">
          <a:xfrm flipV="1">
            <a:off x="-9525" y="5816600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1" name="Полилиния 10"/>
          <p:cNvSpPr>
            <a:spLocks/>
          </p:cNvSpPr>
          <p:nvPr/>
        </p:nvSpPr>
        <p:spPr bwMode="auto">
          <a:xfrm flipV="1">
            <a:off x="4381500" y="6219825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олилиния 6"/>
          <p:cNvSpPr>
            <a:spLocks/>
          </p:cNvSpPr>
          <p:nvPr/>
        </p:nvSpPr>
        <p:spPr bwMode="auto">
          <a:xfrm>
            <a:off x="-9525" y="-7144"/>
            <a:ext cx="9163050" cy="1041400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6" y="2"/>
              </a:cxn>
              <a:cxn ang="0">
                <a:pos x="2542" y="0"/>
              </a:cxn>
              <a:cxn ang="0">
                <a:pos x="4374" y="367"/>
              </a:cxn>
              <a:cxn ang="0">
                <a:pos x="5766" y="55"/>
              </a:cxn>
              <a:cxn ang="0">
                <a:pos x="5772" y="213"/>
              </a:cxn>
              <a:cxn ang="0">
                <a:pos x="4302" y="439"/>
              </a:cxn>
              <a:cxn ang="0">
                <a:pos x="1488" y="201"/>
              </a:cxn>
              <a:cxn ang="0">
                <a:pos x="0" y="656"/>
              </a:cxn>
              <a:cxn ang="0">
                <a:pos x="6" y="2"/>
              </a:cxn>
            </a:cxnLst>
            <a:rect l="0" t="0" r="0" b="0"/>
            <a:pathLst>
              <a:path w="5772" h="656">
                <a:moveTo>
                  <a:pt x="6" y="2"/>
                </a:moveTo>
                <a:lnTo>
                  <a:pt x="2542" y="0"/>
                </a:lnTo>
                <a:cubicBezTo>
                  <a:pt x="2746" y="101"/>
                  <a:pt x="3828" y="367"/>
                  <a:pt x="4374" y="367"/>
                </a:cubicBezTo>
                <a:cubicBezTo>
                  <a:pt x="4920" y="367"/>
                  <a:pt x="5526" y="152"/>
                  <a:pt x="5766" y="55"/>
                </a:cubicBezTo>
                <a:lnTo>
                  <a:pt x="5772" y="213"/>
                </a:lnTo>
                <a:cubicBezTo>
                  <a:pt x="5670" y="257"/>
                  <a:pt x="5016" y="441"/>
                  <a:pt x="4302" y="439"/>
                </a:cubicBezTo>
                <a:cubicBezTo>
                  <a:pt x="3588" y="437"/>
                  <a:pt x="2205" y="165"/>
                  <a:pt x="1488" y="201"/>
                </a:cubicBezTo>
                <a:cubicBezTo>
                  <a:pt x="750" y="209"/>
                  <a:pt x="270" y="482"/>
                  <a:pt x="0" y="656"/>
                </a:cubicBezTo>
                <a:lnTo>
                  <a:pt x="6" y="2"/>
                </a:lnTo>
                <a:close/>
              </a:path>
            </a:pathLst>
          </a:custGeom>
          <a:gradFill>
            <a:gsLst>
              <a:gs pos="0">
                <a:schemeClr val="accent2">
                  <a:shade val="50000"/>
                  <a:alpha val="45000"/>
                  <a:satMod val="120000"/>
                </a:schemeClr>
              </a:gs>
              <a:gs pos="100000">
                <a:schemeClr val="accent3">
                  <a:shade val="80000"/>
                  <a:alpha val="55000"/>
                  <a:satMod val="155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8" name="Полилиния 7"/>
          <p:cNvSpPr>
            <a:spLocks/>
          </p:cNvSpPr>
          <p:nvPr/>
        </p:nvSpPr>
        <p:spPr bwMode="auto">
          <a:xfrm>
            <a:off x="4381500" y="-7144"/>
            <a:ext cx="4762500" cy="638175"/>
          </a:xfrm>
          <a:custGeom>
            <a:avLst>
              <a:gd name="A1" fmla="val 0"/>
              <a:gd name="A2" fmla="val 0"/>
              <a:gd name="A3" fmla="val 0"/>
              <a:gd name="A4" fmla="val 0"/>
              <a:gd name="A5" fmla="val 0"/>
              <a:gd name="A6" fmla="val 0"/>
              <a:gd name="A7" fmla="val 0"/>
              <a:gd name="A8" fmla="val 0"/>
            </a:avLst>
            <a:gdLst/>
            <a:ahLst/>
            <a:cxnLst>
              <a:cxn ang="0">
                <a:pos x="0" y="0"/>
              </a:cxn>
              <a:cxn ang="0">
                <a:pos x="1668" y="564"/>
              </a:cxn>
              <a:cxn ang="0">
                <a:pos x="3000" y="186"/>
              </a:cxn>
              <a:cxn ang="0">
                <a:pos x="3000" y="6"/>
              </a:cxn>
              <a:cxn ang="0">
                <a:pos x="0" y="0"/>
              </a:cxn>
            </a:cxnLst>
            <a:rect l="0" t="0" r="0" b="0"/>
            <a:pathLst>
              <a:path w="3000" h="595">
                <a:moveTo>
                  <a:pt x="0" y="0"/>
                </a:moveTo>
                <a:cubicBezTo>
                  <a:pt x="174" y="102"/>
                  <a:pt x="1168" y="533"/>
                  <a:pt x="1668" y="564"/>
                </a:cubicBezTo>
                <a:cubicBezTo>
                  <a:pt x="2168" y="595"/>
                  <a:pt x="2778" y="279"/>
                  <a:pt x="3000" y="186"/>
                </a:cubicBezTo>
                <a:lnTo>
                  <a:pt x="3000" y="6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accent3">
                  <a:shade val="50000"/>
                  <a:alpha val="30000"/>
                  <a:satMod val="130000"/>
                </a:schemeClr>
              </a:gs>
              <a:gs pos="80000">
                <a:schemeClr val="accent2">
                  <a:shade val="75000"/>
                  <a:alpha val="45000"/>
                  <a:satMod val="140000"/>
                </a:schemeClr>
              </a:gs>
            </a:gsLst>
            <a:lin ang="5400000" scaled="1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pPr marL="0" algn="l" rtl="0" eaLnBrk="1" latinLnBrk="0" hangingPunct="1"/>
            <a:endParaRPr kumimoji="0" lang="en-US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457200" y="704088"/>
            <a:ext cx="8229600" cy="1143000"/>
          </a:xfrm>
          <a:prstGeom prst="rect">
            <a:avLst/>
          </a:prstGeom>
        </p:spPr>
        <p:txBody>
          <a:bodyPr vert="horz" lIns="0" rIns="0" bIns="0" anchor="b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0" name="Текст 29"/>
          <p:cNvSpPr>
            <a:spLocks noGrp="1"/>
          </p:cNvSpPr>
          <p:nvPr>
            <p:ph type="body" idx="1"/>
          </p:nvPr>
        </p:nvSpPr>
        <p:spPr>
          <a:xfrm>
            <a:off x="457200" y="1935480"/>
            <a:ext cx="8229600" cy="4389120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89D5AE02-21CA-43A6-994B-4389501F9DCF}" type="datetimeFigureOut">
              <a:rPr lang="fr-FR" smtClean="0"/>
              <a:pPr>
                <a:defRPr/>
              </a:pPr>
              <a:t>21/06/2021</a:t>
            </a:fld>
            <a:endParaRPr lang="fr-CA"/>
          </a:p>
        </p:txBody>
      </p:sp>
      <p:sp>
        <p:nvSpPr>
          <p:cNvPr id="22" name="Нижний колонтитул 21"/>
          <p:cNvSpPr>
            <a:spLocks noGrp="1"/>
          </p:cNvSpPr>
          <p:nvPr>
            <p:ph type="ftr" sz="quarter" idx="3"/>
          </p:nvPr>
        </p:nvSpPr>
        <p:spPr>
          <a:xfrm>
            <a:off x="2667000" y="6356350"/>
            <a:ext cx="33528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l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endParaRPr lang="fr-CA"/>
          </a:p>
        </p:txBody>
      </p:sp>
      <p:sp>
        <p:nvSpPr>
          <p:cNvPr id="18" name="Номер слайда 17"/>
          <p:cNvSpPr>
            <a:spLocks noGrp="1"/>
          </p:cNvSpPr>
          <p:nvPr>
            <p:ph type="sldNum" sz="quarter" idx="4"/>
          </p:nvPr>
        </p:nvSpPr>
        <p:spPr>
          <a:xfrm>
            <a:off x="7924800" y="6356350"/>
            <a:ext cx="762000" cy="365125"/>
          </a:xfrm>
          <a:prstGeom prst="rect">
            <a:avLst/>
          </a:prstGeom>
        </p:spPr>
        <p:txBody>
          <a:bodyPr vert="horz" lIns="0" tIns="0" rIns="0" bIns="0" anchor="b"/>
          <a:lstStyle>
            <a:lvl1pPr algn="r" eaLnBrk="1" latinLnBrk="0" hangingPunct="1">
              <a:defRPr kumimoji="0" sz="1200">
                <a:solidFill>
                  <a:schemeClr val="tx2">
                    <a:shade val="90000"/>
                  </a:schemeClr>
                </a:solidFill>
              </a:defRPr>
            </a:lvl1pPr>
          </a:lstStyle>
          <a:p>
            <a:pPr>
              <a:defRPr/>
            </a:pPr>
            <a:fld id="{2375272C-C343-4219-BDE7-9C54E5C9F467}" type="slidenum">
              <a:rPr lang="fr-CA" smtClean="0"/>
              <a:pPr>
                <a:defRPr/>
              </a:pPr>
              <a:t>‹#›</a:t>
            </a:fld>
            <a:endParaRPr lang="fr-CA"/>
          </a:p>
        </p:txBody>
      </p:sp>
      <p:grpSp>
        <p:nvGrpSpPr>
          <p:cNvPr id="2" name="Группа 1"/>
          <p:cNvGrpSpPr/>
          <p:nvPr/>
        </p:nvGrpSpPr>
        <p:grpSpPr>
          <a:xfrm>
            <a:off x="-19017" y="202408"/>
            <a:ext cx="9180548" cy="649224"/>
            <a:chOff x="-19045" y="216550"/>
            <a:chExt cx="9180548" cy="649224"/>
          </a:xfrm>
        </p:grpSpPr>
        <p:sp>
          <p:nvSpPr>
            <p:cNvPr id="12" name="Полилиния 11"/>
            <p:cNvSpPr>
              <a:spLocks/>
            </p:cNvSpPr>
            <p:nvPr/>
          </p:nvSpPr>
          <p:spPr bwMode="auto">
            <a:xfrm rot="21435692">
              <a:off x="-19045" y="216550"/>
              <a:ext cx="9163050" cy="649224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966"/>
                </a:cxn>
                <a:cxn ang="0">
                  <a:pos x="1608" y="282"/>
                </a:cxn>
                <a:cxn ang="0">
                  <a:pos x="4110" y="1008"/>
                </a:cxn>
                <a:cxn ang="0">
                  <a:pos x="5772" y="0"/>
                </a:cxn>
              </a:cxnLst>
              <a:rect l="0" t="0" r="0" b="0"/>
              <a:pathLst>
                <a:path w="5772" h="1055">
                  <a:moveTo>
                    <a:pt x="0" y="966"/>
                  </a:moveTo>
                  <a:cubicBezTo>
                    <a:pt x="282" y="738"/>
                    <a:pt x="923" y="275"/>
                    <a:pt x="1608" y="282"/>
                  </a:cubicBezTo>
                  <a:cubicBezTo>
                    <a:pt x="2293" y="289"/>
                    <a:pt x="3416" y="1055"/>
                    <a:pt x="4110" y="1008"/>
                  </a:cubicBezTo>
                  <a:cubicBezTo>
                    <a:pt x="4804" y="961"/>
                    <a:pt x="5426" y="210"/>
                    <a:pt x="5772" y="0"/>
                  </a:cubicBezTo>
                </a:path>
              </a:pathLst>
            </a:custGeom>
            <a:noFill/>
            <a:ln w="10795" cap="flat" cmpd="sng" algn="ctr">
              <a:gradFill>
                <a:gsLst>
                  <a:gs pos="74000">
                    <a:schemeClr val="accent3">
                      <a:shade val="75000"/>
                    </a:schemeClr>
                  </a:gs>
                  <a:gs pos="86000">
                    <a:schemeClr val="tx1">
                      <a:alpha val="29000"/>
                    </a:schemeClr>
                  </a:gs>
                  <a:gs pos="16000">
                    <a:schemeClr val="accent2">
                      <a:shade val="75000"/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  <p:sp>
          <p:nvSpPr>
            <p:cNvPr id="13" name="Полилиния 12"/>
            <p:cNvSpPr>
              <a:spLocks/>
            </p:cNvSpPr>
            <p:nvPr/>
          </p:nvSpPr>
          <p:spPr bwMode="auto">
            <a:xfrm rot="21435692">
              <a:off x="-14309" y="290003"/>
              <a:ext cx="9175812" cy="530352"/>
            </a:xfrm>
            <a:custGeom>
              <a:avLst>
                <a:gd name="A1" fmla="val 0"/>
                <a:gd name="A2" fmla="val 0"/>
                <a:gd name="A3" fmla="val 0"/>
                <a:gd name="A4" fmla="val 0"/>
                <a:gd name="A5" fmla="val 0"/>
                <a:gd name="A6" fmla="val 0"/>
                <a:gd name="A7" fmla="val 0"/>
                <a:gd name="A8" fmla="val 0"/>
              </a:avLst>
              <a:gdLst/>
              <a:ahLst/>
              <a:cxnLst>
                <a:cxn ang="0">
                  <a:pos x="0" y="732"/>
                </a:cxn>
                <a:cxn ang="0">
                  <a:pos x="1638" y="228"/>
                </a:cxn>
                <a:cxn ang="0">
                  <a:pos x="4122" y="816"/>
                </a:cxn>
                <a:cxn ang="0">
                  <a:pos x="5766" y="0"/>
                </a:cxn>
              </a:cxnLst>
              <a:rect l="0" t="0" r="0" b="0"/>
              <a:pathLst>
                <a:path w="5766" h="854">
                  <a:moveTo>
                    <a:pt x="0" y="732"/>
                  </a:moveTo>
                  <a:cubicBezTo>
                    <a:pt x="273" y="647"/>
                    <a:pt x="951" y="214"/>
                    <a:pt x="1638" y="228"/>
                  </a:cubicBezTo>
                  <a:cubicBezTo>
                    <a:pt x="2325" y="242"/>
                    <a:pt x="3434" y="854"/>
                    <a:pt x="4122" y="816"/>
                  </a:cubicBezTo>
                  <a:cubicBezTo>
                    <a:pt x="4810" y="778"/>
                    <a:pt x="5424" y="170"/>
                    <a:pt x="5766" y="0"/>
                  </a:cubicBezTo>
                </a:path>
              </a:pathLst>
            </a:custGeom>
            <a:noFill/>
            <a:ln w="9525" cap="flat" cmpd="sng" algn="ctr">
              <a:gradFill>
                <a:gsLst>
                  <a:gs pos="74000">
                    <a:schemeClr val="accent4"/>
                  </a:gs>
                  <a:gs pos="44000">
                    <a:schemeClr val="accent1"/>
                  </a:gs>
                  <a:gs pos="33000">
                    <a:schemeClr val="accent2">
                      <a:alpha val="56000"/>
                    </a:schemeClr>
                  </a:gs>
                </a:gsLst>
                <a:lin ang="5400000" scaled="1"/>
              </a:gra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anchor="t" compatLnSpc="1"/>
            <a:lstStyle/>
            <a:p>
              <a:endParaRPr kumimoji="0" lang="en-US"/>
            </a:p>
          </p:txBody>
        </p: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6" r:id="rId1"/>
    <p:sldLayoutId id="2147483717" r:id="rId2"/>
    <p:sldLayoutId id="2147483718" r:id="rId3"/>
    <p:sldLayoutId id="2147483719" r:id="rId4"/>
    <p:sldLayoutId id="2147483720" r:id="rId5"/>
    <p:sldLayoutId id="2147483721" r:id="rId6"/>
    <p:sldLayoutId id="2147483722" r:id="rId7"/>
    <p:sldLayoutId id="2147483723" r:id="rId8"/>
    <p:sldLayoutId id="2147483724" r:id="rId9"/>
    <p:sldLayoutId id="2147483725" r:id="rId10"/>
    <p:sldLayoutId id="2147483726" r:id="rId11"/>
    <p:sldLayoutId id="2147483728" r:id="rId12"/>
    <p:sldLayoutId id="2147483729" r:id="rId13"/>
  </p:sldLayoutIdLst>
  <p:txStyles>
    <p:titleStyle>
      <a:lvl1pPr algn="l" rtl="0" eaLnBrk="1" latinLnBrk="0" hangingPunct="1">
        <a:spcBef>
          <a:spcPct val="0"/>
        </a:spcBef>
        <a:buNone/>
        <a:defRPr kumimoji="0" sz="5000" b="0" kern="1200">
          <a:ln>
            <a:noFill/>
          </a:ln>
          <a:solidFill>
            <a:schemeClr val="tx2"/>
          </a:solidFill>
          <a:effectLst/>
          <a:latin typeface="+mj-lt"/>
          <a:ea typeface="+mj-ea"/>
          <a:cs typeface="+mj-cs"/>
        </a:defRPr>
      </a:lvl1pPr>
    </p:titleStyle>
    <p:bodyStyle>
      <a:lvl1pPr marL="274320" indent="-274320" algn="l" rtl="0" eaLnBrk="1" latinLnBrk="0" hangingPunct="1">
        <a:spcBef>
          <a:spcPct val="20000"/>
        </a:spcBef>
        <a:buClr>
          <a:schemeClr val="accent3"/>
        </a:buClr>
        <a:buSzPct val="95000"/>
        <a:buFont typeface="Wingdings 2"/>
        <a:buChar char=""/>
        <a:defRPr kumimoji="0"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40080" indent="-246888" algn="l" rtl="0" eaLnBrk="1" latinLnBrk="0" hangingPunct="1">
        <a:spcBef>
          <a:spcPct val="20000"/>
        </a:spcBef>
        <a:buClr>
          <a:schemeClr val="accent1"/>
        </a:buClr>
        <a:buSzPct val="85000"/>
        <a:buFont typeface="Wingdings 2"/>
        <a:buChar char=""/>
        <a:defRPr kumimoji="0"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indent="-246888" algn="l" rtl="0" eaLnBrk="1" latinLnBrk="0" hangingPunct="1">
        <a:spcBef>
          <a:spcPct val="20000"/>
        </a:spcBef>
        <a:buClr>
          <a:schemeClr val="accent2"/>
        </a:buClr>
        <a:buSzPct val="70000"/>
        <a:buFont typeface="Wingdings 2"/>
        <a:buChar char="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3pPr>
      <a:lvl4pPr marL="1188720" indent="-210312" algn="l" rtl="0" eaLnBrk="1" latinLnBrk="0" hangingPunct="1">
        <a:spcBef>
          <a:spcPct val="20000"/>
        </a:spcBef>
        <a:buClr>
          <a:schemeClr val="accent3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63040" indent="-210312" algn="l" rtl="0" eaLnBrk="1" latinLnBrk="0" hangingPunct="1">
        <a:spcBef>
          <a:spcPct val="20000"/>
        </a:spcBef>
        <a:buClr>
          <a:schemeClr val="accent4"/>
        </a:buClr>
        <a:buSzPct val="65000"/>
        <a:buFont typeface="Wingdings 2"/>
        <a:buChar char=""/>
        <a:defRPr kumimoji="0"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1737360" indent="-210312" algn="l" rtl="0" eaLnBrk="1" latinLnBrk="0" hangingPunct="1">
        <a:spcBef>
          <a:spcPct val="20000"/>
        </a:spcBef>
        <a:buClr>
          <a:schemeClr val="accent5"/>
        </a:buClr>
        <a:buSzPct val="80000"/>
        <a:buFont typeface="Wingdings 2"/>
        <a:buChar char=""/>
        <a:defRPr kumimoji="0"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1920240" indent="-182880" algn="l" rtl="0" eaLnBrk="1" latinLnBrk="0" hangingPunct="1">
        <a:spcBef>
          <a:spcPct val="20000"/>
        </a:spcBef>
        <a:buClr>
          <a:schemeClr val="accent6"/>
        </a:buClr>
        <a:buSzPct val="80000"/>
        <a:buFont typeface="Wingdings 2"/>
        <a:buChar char=""/>
        <a:defRPr kumimoji="0" sz="16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2194560" indent="-182880" algn="l" rtl="0" eaLnBrk="1" latinLnBrk="0" hangingPunct="1">
        <a:spcBef>
          <a:spcPct val="20000"/>
        </a:spcBef>
        <a:buClr>
          <a:schemeClr val="tx2"/>
        </a:buClr>
        <a:buChar char="•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468880" indent="-182880" algn="l" rtl="0" eaLnBrk="1" latinLnBrk="0" hangingPunct="1">
        <a:spcBef>
          <a:spcPct val="20000"/>
        </a:spcBef>
        <a:buClr>
          <a:schemeClr val="tx2"/>
        </a:buClr>
        <a:buFontTx/>
        <a:buChar char="•"/>
        <a:defRPr kumimoji="0" sz="1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_____Microsoft_Office_Excel_97-20031.xls"/><Relationship Id="rId4" Type="http://schemas.openxmlformats.org/officeDocument/2006/relationships/image" Target="../media/image2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_____Microsoft_Office_Excel_97-20032.xls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7" Type="http://schemas.openxmlformats.org/officeDocument/2006/relationships/chart" Target="../charts/chart6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chart" Target="../charts/chart5.xml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7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4" Type="http://schemas.openxmlformats.org/officeDocument/2006/relationships/oleObject" Target="../embeddings/_____Microsoft_Office_Excel_97-20033.xls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_____Microsoft_Office_Excel_97-20034.xls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chart" Target="../charts/chart9.xml"/><Relationship Id="rId4" Type="http://schemas.openxmlformats.org/officeDocument/2006/relationships/image" Target="../media/image2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5.vml"/><Relationship Id="rId4" Type="http://schemas.openxmlformats.org/officeDocument/2006/relationships/oleObject" Target="../embeddings/_____Microsoft_Office_Excel_97-20035.xls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_____Microsoft_Office_Excel_97-20036.xls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_____Microsoft_Office_Excel_97-20037.xls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8.vml"/><Relationship Id="rId4" Type="http://schemas.openxmlformats.org/officeDocument/2006/relationships/oleObject" Target="../embeddings/_____Microsoft_Office_Excel_97-20038.xls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jpe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_____Microsoft_Office_Excel_97-20039.xls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0.vml"/><Relationship Id="rId4" Type="http://schemas.openxmlformats.org/officeDocument/2006/relationships/oleObject" Target="../embeddings/_____Microsoft_Office_Excel_97-200310.xls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1.vml"/><Relationship Id="rId4" Type="http://schemas.openxmlformats.org/officeDocument/2006/relationships/oleObject" Target="../embeddings/_____Microsoft_Office_Excel_97-200311.xls"/></Relationships>
</file>

<file path=ppt/slides/_rels/slide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2.vml"/><Relationship Id="rId4" Type="http://schemas.openxmlformats.org/officeDocument/2006/relationships/oleObject" Target="../embeddings/_____Microsoft_Office_Excel_97-200312.xls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3.vml"/><Relationship Id="rId4" Type="http://schemas.openxmlformats.org/officeDocument/2006/relationships/oleObject" Target="../embeddings/_____Microsoft_Office_Excel_97-200313.xls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4.vml"/><Relationship Id="rId4" Type="http://schemas.openxmlformats.org/officeDocument/2006/relationships/oleObject" Target="../embeddings/_____Microsoft_Office_Excel_97-200314.xls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Layout" Target="../slideLayouts/slideLayout7.xml"/><Relationship Id="rId1" Type="http://schemas.openxmlformats.org/officeDocument/2006/relationships/vmlDrawing" Target="../drawings/vmlDrawing15.vml"/><Relationship Id="rId4" Type="http://schemas.openxmlformats.org/officeDocument/2006/relationships/oleObject" Target="../embeddings/_____Microsoft_Office_Excel_97-200315.xls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chart" Target="../charts/chart13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chart" Target="../charts/chart12.xml"/><Relationship Id="rId5" Type="http://schemas.openxmlformats.org/officeDocument/2006/relationships/image" Target="../media/image2.jpeg"/><Relationship Id="rId4" Type="http://schemas.openxmlformats.org/officeDocument/2006/relationships/slideLayout" Target="../slideLayouts/slideLayout7.xml"/></Relationships>
</file>

<file path=ppt/slides/_rels/slide49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slideLayout" Target="../slideLayouts/slideLayout13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image" Target="../media/image33.jpeg"/><Relationship Id="rId1" Type="http://schemas.openxmlformats.org/officeDocument/2006/relationships/tags" Target="../tags/tag6.x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image" Target="../media/image2.jpeg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3" Type="http://schemas.openxmlformats.org/officeDocument/2006/relationships/image" Target="../media/image9.jpeg"/><Relationship Id="rId7" Type="http://schemas.openxmlformats.org/officeDocument/2006/relationships/image" Target="../media/image13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jpeg"/><Relationship Id="rId10" Type="http://schemas.openxmlformats.org/officeDocument/2006/relationships/image" Target="../media/image16.jpeg"/><Relationship Id="rId4" Type="http://schemas.openxmlformats.org/officeDocument/2006/relationships/image" Target="../media/image10.jpeg"/><Relationship Id="rId9" Type="http://schemas.openxmlformats.org/officeDocument/2006/relationships/image" Target="../media/image15.jpeg"/></Relationships>
</file>

<file path=ppt/slides/_rels/slide50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" Type="http://schemas.openxmlformats.org/officeDocument/2006/relationships/tags" Target="../tags/tag25.xml"/><Relationship Id="rId21" Type="http://schemas.openxmlformats.org/officeDocument/2006/relationships/tags" Target="../tags/tag43.xml"/><Relationship Id="rId34" Type="http://schemas.openxmlformats.org/officeDocument/2006/relationships/image" Target="../media/image2.jpeg"/><Relationship Id="rId7" Type="http://schemas.openxmlformats.org/officeDocument/2006/relationships/tags" Target="../tags/tag29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slideLayout" Target="../slideLayouts/slideLayout7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0" Type="http://schemas.openxmlformats.org/officeDocument/2006/relationships/tags" Target="../tags/tag42.xml"/><Relationship Id="rId29" Type="http://schemas.openxmlformats.org/officeDocument/2006/relationships/tags" Target="../tags/tag51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image" Target="../media/image36.png"/><Relationship Id="rId5" Type="http://schemas.openxmlformats.org/officeDocument/2006/relationships/tags" Target="../tags/tag27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image" Target="../media/image35.png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image" Target="../media/image34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gif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9.gi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gif"/></Relationships>
</file>

<file path=ppt/slides/_rels/slide55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13" Type="http://schemas.openxmlformats.org/officeDocument/2006/relationships/tags" Target="../tags/tag67.xml"/><Relationship Id="rId18" Type="http://schemas.openxmlformats.org/officeDocument/2006/relationships/tags" Target="../tags/tag72.xml"/><Relationship Id="rId3" Type="http://schemas.openxmlformats.org/officeDocument/2006/relationships/tags" Target="../tags/tag57.xml"/><Relationship Id="rId21" Type="http://schemas.openxmlformats.org/officeDocument/2006/relationships/slideLayout" Target="../slideLayouts/slideLayout13.xml"/><Relationship Id="rId7" Type="http://schemas.openxmlformats.org/officeDocument/2006/relationships/tags" Target="../tags/tag61.xml"/><Relationship Id="rId12" Type="http://schemas.openxmlformats.org/officeDocument/2006/relationships/tags" Target="../tags/tag66.xml"/><Relationship Id="rId17" Type="http://schemas.openxmlformats.org/officeDocument/2006/relationships/tags" Target="../tags/tag71.xml"/><Relationship Id="rId2" Type="http://schemas.openxmlformats.org/officeDocument/2006/relationships/tags" Target="../tags/tag56.xml"/><Relationship Id="rId16" Type="http://schemas.openxmlformats.org/officeDocument/2006/relationships/tags" Target="../tags/tag70.xml"/><Relationship Id="rId20" Type="http://schemas.openxmlformats.org/officeDocument/2006/relationships/tags" Target="../tags/tag74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tags" Target="../tags/tag65.xml"/><Relationship Id="rId5" Type="http://schemas.openxmlformats.org/officeDocument/2006/relationships/tags" Target="../tags/tag59.xml"/><Relationship Id="rId15" Type="http://schemas.openxmlformats.org/officeDocument/2006/relationships/tags" Target="../tags/tag69.xml"/><Relationship Id="rId10" Type="http://schemas.openxmlformats.org/officeDocument/2006/relationships/tags" Target="../tags/tag64.xml"/><Relationship Id="rId19" Type="http://schemas.openxmlformats.org/officeDocument/2006/relationships/tags" Target="../tags/tag73.xml"/><Relationship Id="rId4" Type="http://schemas.openxmlformats.org/officeDocument/2006/relationships/tags" Target="../tags/tag58.xml"/><Relationship Id="rId9" Type="http://schemas.openxmlformats.org/officeDocument/2006/relationships/tags" Target="../tags/tag63.xml"/><Relationship Id="rId14" Type="http://schemas.openxmlformats.org/officeDocument/2006/relationships/tags" Target="../tags/tag68.xml"/><Relationship Id="rId22" Type="http://schemas.openxmlformats.org/officeDocument/2006/relationships/image" Target="../media/image2.jpe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16.xml"/></Relationships>
</file>

<file path=ppt/slides/_rels/slide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7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76.xml"/><Relationship Id="rId1" Type="http://schemas.openxmlformats.org/officeDocument/2006/relationships/tags" Target="../tags/tag75.xml"/><Relationship Id="rId6" Type="http://schemas.openxmlformats.org/officeDocument/2006/relationships/chart" Target="../charts/chart17.xml"/><Relationship Id="rId5" Type="http://schemas.openxmlformats.org/officeDocument/2006/relationships/image" Target="../media/image41.png"/><Relationship Id="rId4" Type="http://schemas.openxmlformats.org/officeDocument/2006/relationships/image" Target="../media/image2.jpeg"/></Relationships>
</file>

<file path=ppt/slides/_rels/slide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pic>
        <p:nvPicPr>
          <p:cNvPr id="27651" name="Picture 7" descr="герб-прозр фо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313" y="214313"/>
            <a:ext cx="1142977" cy="1461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8"/>
          <p:cNvSpPr txBox="1">
            <a:spLocks noChangeArrowheads="1"/>
          </p:cNvSpPr>
          <p:nvPr/>
        </p:nvSpPr>
        <p:spPr bwMode="auto">
          <a:xfrm>
            <a:off x="-3000375" y="2786063"/>
            <a:ext cx="6477000" cy="192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>
              <a:defRPr/>
            </a:pPr>
            <a:endParaRPr lang="ru-RU" sz="25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ea typeface="+mj-ea"/>
              <a:cs typeface="+mj-cs"/>
            </a:endParaRPr>
          </a:p>
        </p:txBody>
      </p:sp>
      <p:sp>
        <p:nvSpPr>
          <p:cNvPr id="28681" name="Rectangle 4"/>
          <p:cNvSpPr>
            <a:spLocks noChangeArrowheads="1"/>
          </p:cNvSpPr>
          <p:nvPr/>
        </p:nvSpPr>
        <p:spPr bwMode="auto">
          <a:xfrm>
            <a:off x="1928794" y="357166"/>
            <a:ext cx="6248400" cy="73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ФИНАНСОВОЕ УПРАВЛЕНИЕ АДМИНИСТРАЦИИ 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  <a:t>ГОРОДА-КУРОРТА ЖЕЛЕЗНОВОДСКА СТАВРОПОЛЬСКОГО КРАЯ</a:t>
            </a:r>
            <a:br>
              <a:rPr lang="ru-RU" sz="1400" b="1" dirty="0">
                <a:solidFill>
                  <a:schemeClr val="accent2">
                    <a:lumMod val="75000"/>
                  </a:schemeClr>
                </a:solidFill>
              </a:rPr>
            </a:br>
            <a:endParaRPr lang="ru-RU" sz="14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1214414" y="1714488"/>
            <a:ext cx="7358114" cy="285752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>
              <a:defRPr/>
            </a:pPr>
            <a:endParaRPr lang="ru-RU" sz="2800" b="1" dirty="0">
              <a:solidFill>
                <a:schemeClr val="accent2">
                  <a:lumMod val="50000"/>
                </a:schemeClr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ОТКРЫТЫЙ БЮДЖЕТ ДЛЯ ГРАЖДАН </a:t>
            </a:r>
            <a:endParaRPr lang="ru-RU" sz="28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/>
                </a:outerShdw>
              </a:effectLst>
              <a:latin typeface="Times New Roman" pitchFamily="18" charset="0"/>
              <a:ea typeface="+mj-ea"/>
              <a:cs typeface="Times New Roman" pitchFamily="18" charset="0"/>
            </a:endParaRPr>
          </a:p>
          <a:p>
            <a:pPr algn="ctr">
              <a:defRPr/>
            </a:pP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по решению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/>
            </a:r>
            <a:b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</a:b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«О бюджете города-курорта Железноводска Ставропольского края на </a:t>
            </a: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2021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год и плановый период </a:t>
            </a:r>
            <a:r>
              <a:rPr lang="ru-RU" sz="28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2022-2023 </a:t>
            </a:r>
            <a:r>
              <a:rPr lang="ru-RU" sz="28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  <a:latin typeface="Times New Roman" pitchFamily="18" charset="0"/>
                <a:ea typeface="+mj-ea"/>
                <a:cs typeface="Times New Roman" pitchFamily="18" charset="0"/>
              </a:rPr>
              <a:t>годов»</a:t>
            </a:r>
          </a:p>
          <a:p>
            <a:pPr>
              <a:defRPr/>
            </a:pPr>
            <a:endParaRPr lang="ru-RU" sz="2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231426" name="Picture 2" descr="https://stv24.tv/wp-content/uploads/2020/06/14/font-zhel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4000504"/>
            <a:ext cx="4286248" cy="285749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6" name="Object 92"/>
          <p:cNvGraphicFramePr>
            <a:graphicFrameLocks noGrp="1" noChangeAspect="1"/>
          </p:cNvGraphicFramePr>
          <p:nvPr>
            <p:ph idx="1"/>
          </p:nvPr>
        </p:nvGraphicFramePr>
        <p:xfrm>
          <a:off x="285720" y="1643050"/>
          <a:ext cx="8501122" cy="50136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проекта бюджета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 в сравнении с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5" name="Text Box 1"/>
          <p:cNvSpPr txBox="1">
            <a:spLocks noChangeArrowheads="1"/>
          </p:cNvSpPr>
          <p:nvPr/>
        </p:nvSpPr>
        <p:spPr bwMode="auto">
          <a:xfrm>
            <a:off x="7358082" y="1571612"/>
            <a:ext cx="1571636" cy="40011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2000" b="1" i="0" u="none" strike="noStrike" baseline="0" dirty="0" smtClean="0">
                <a:solidFill>
                  <a:srgbClr val="000000"/>
                </a:solidFill>
                <a:latin typeface="Times New Roman" pitchFamily="18" charset="0"/>
                <a:cs typeface="Times New Roman" pitchFamily="18" charset="0"/>
              </a:rPr>
              <a:t>млн.рублей</a:t>
            </a:r>
            <a:endParaRPr lang="ru-RU" sz="2350" b="1" i="0" u="none" strike="noStrike" baseline="0" dirty="0">
              <a:solidFill>
                <a:srgbClr val="00000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285750" y="2143125"/>
          <a:ext cx="8686800" cy="3652206"/>
        </p:xfrm>
        <a:graphic>
          <a:graphicData uri="http://schemas.openxmlformats.org/drawingml/2006/table">
            <a:tbl>
              <a:tblPr/>
              <a:tblGrid>
                <a:gridCol w="1285854"/>
                <a:gridCol w="642942"/>
                <a:gridCol w="755667"/>
                <a:gridCol w="790575"/>
                <a:gridCol w="711200"/>
                <a:gridCol w="552450"/>
                <a:gridCol w="709612"/>
                <a:gridCol w="711200"/>
                <a:gridCol w="552450"/>
                <a:gridCol w="790575"/>
                <a:gridCol w="712815"/>
                <a:gridCol w="471460"/>
              </a:tblGrid>
              <a:tr h="322263"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акт за 2019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ценка на 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ек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9210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клонение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+/-)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b="1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  <a:endParaRPr kumimoji="0" lang="ru-RU" sz="11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ОХОДЫ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79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88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73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2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94,1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66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2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93,6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28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37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том числе: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1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FF0000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826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логовые и неналоговые доходы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4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5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34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1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96,9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4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0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3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01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8896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Безвозмездные поступления 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45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52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426,7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00,9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93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3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3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92,0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3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380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Ы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79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819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773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-46,4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9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1 66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r>
                        <a:rPr lang="ru-RU" sz="1200" b="1" i="0" u="none" strike="noStrike" dirty="0" smtClean="0">
                          <a:latin typeface="Times New Roman" pitchFamily="18" charset="0"/>
                          <a:cs typeface="Times New Roman" pitchFamily="18" charset="0"/>
                        </a:rPr>
                        <a:t>112,8</a:t>
                      </a:r>
                      <a:endParaRPr lang="ru-RU" sz="1200" b="1" i="0" u="none" strike="noStrike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9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 28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376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7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7148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ФИЦИТ (+),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ЕФИЦИТ (-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031" marR="4303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1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6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-6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 pitchFamily="18" charset="0"/>
                          <a:cs typeface="Times New Roman" pitchFamily="18" charset="0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38005" name="Text Box 1"/>
          <p:cNvSpPr txBox="1">
            <a:spLocks noChangeArrowheads="1"/>
          </p:cNvSpPr>
          <p:nvPr/>
        </p:nvSpPr>
        <p:spPr bwMode="auto">
          <a:xfrm>
            <a:off x="7572375" y="1619250"/>
            <a:ext cx="1285875" cy="3079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характеристики проекта бюджета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 в сравнении с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ами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8916" name="Text Box 1"/>
          <p:cNvSpPr txBox="1">
            <a:spLocks noChangeArrowheads="1"/>
          </p:cNvSpPr>
          <p:nvPr/>
        </p:nvSpPr>
        <p:spPr bwMode="auto">
          <a:xfrm>
            <a:off x="7643834" y="1285861"/>
            <a:ext cx="1357291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планируемых к поступлению в бюджет города-курорта Железноводска Ставропольского края, в динамике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1643050"/>
          <a:ext cx="8572528" cy="5036917"/>
        </p:xfrm>
        <a:graphic>
          <a:graphicData uri="http://schemas.openxmlformats.org/drawingml/2006/table">
            <a:tbl>
              <a:tblPr/>
              <a:tblGrid>
                <a:gridCol w="3471532"/>
                <a:gridCol w="1062714"/>
                <a:gridCol w="1062684"/>
                <a:gridCol w="991866"/>
                <a:gridCol w="991866"/>
                <a:gridCol w="991866"/>
              </a:tblGrid>
              <a:tr h="6006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фактическое исполнение за 2019 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ожидаемые поступления за  2020 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 проект плана на 2021 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2022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2023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486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СОБСТВЕНН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5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19604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27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0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0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0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1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 на доходы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144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72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65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6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7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1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Акцизы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51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, взимаемый в связи с применением упрощен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8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8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9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94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Единый налог на вмененный доход для отдельных видов деятельност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4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2121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Единый сельскохозяйствен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, взимаемый в связи с применением патентной системы налогооблож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6519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Налог на имущество физических лиц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1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3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3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3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4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Земельный налог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5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3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6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Задолженность по отменным налогам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5915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Государственная пошлина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8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7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4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413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Доходы от использования муниципального имуществ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4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6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8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0067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>
                          <a:latin typeface="Times New Roman"/>
                        </a:rPr>
                        <a:t>Прочие 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26,7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11,7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3,3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9940" name="Text Box 1"/>
          <p:cNvSpPr txBox="1">
            <a:spLocks noChangeArrowheads="1"/>
          </p:cNvSpPr>
          <p:nvPr/>
        </p:nvSpPr>
        <p:spPr bwMode="auto">
          <a:xfrm>
            <a:off x="7715250" y="1621025"/>
            <a:ext cx="128587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400" b="1" dirty="0" smtClean="0">
                <a:solidFill>
                  <a:srgbClr val="000000"/>
                </a:solidFill>
                <a:ea typeface="Calibri" pitchFamily="34" charset="0"/>
                <a:cs typeface="Times New Roman" pitchFamily="18" charset="0"/>
              </a:rPr>
              <a:t>млн.рублей</a:t>
            </a:r>
            <a:endParaRPr lang="ru-RU" sz="1400" b="1" dirty="0">
              <a:solidFill>
                <a:srgbClr val="000000"/>
              </a:solidFill>
              <a:ea typeface="Calibri" pitchFamily="34" charset="0"/>
              <a:cs typeface="Times New Roman" pitchFamily="18" charset="0"/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14297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spcBef>
                <a:spcPct val="50000"/>
              </a:spcBef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Объем и структура налоговых и неналоговых доходов, а также межбюджетных трансфертов, планируемых к поступлению в бюджет города-курорта Железноводска Ставропольского края, в динамике</a:t>
            </a: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2000240"/>
          <a:ext cx="8643997" cy="4525085"/>
        </p:xfrm>
        <a:graphic>
          <a:graphicData uri="http://schemas.openxmlformats.org/drawingml/2006/table">
            <a:tbl>
              <a:tblPr/>
              <a:tblGrid>
                <a:gridCol w="3214679"/>
                <a:gridCol w="1143008"/>
                <a:gridCol w="1000132"/>
                <a:gridCol w="1065702"/>
                <a:gridCol w="1110238"/>
                <a:gridCol w="1110238"/>
              </a:tblGrid>
              <a:tr h="60345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фактическое исполнение за 2019 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latin typeface="Times New Roman"/>
                        </a:rPr>
                        <a:t>ожидаемые поступления за  2020 год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 проект плана на 2021 год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2022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i="0" u="none" strike="noStrike" dirty="0">
                          <a:latin typeface="Times New Roman"/>
                        </a:rPr>
                        <a:t>проект плана на 2023 г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7493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СОБСТВЕННЫЕ </a:t>
                      </a:r>
                      <a:r>
                        <a:rPr lang="ru-RU" sz="1200" b="1" i="0" u="none" strike="noStrike" dirty="0">
                          <a:latin typeface="Times New Roman"/>
                        </a:rPr>
                        <a:t>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345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5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6,7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4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352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79537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271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0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0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306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10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4942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НЕНАЛОГОВЫЕ ДОХОДЫ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73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48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latin typeface="Times New Roman"/>
                        </a:rPr>
                        <a:t>41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1577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>
                          <a:latin typeface="Times New Roman"/>
                        </a:rPr>
                        <a:t>БЕЗВОЗМЕЗДНЫЕ ПОСТУПЛЕНИЯ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450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527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426,7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312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932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89229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Дота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89,4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409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01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4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38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сидии бюджетам бюджетной системы Российской Федерации 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82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96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420,8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36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6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Субвенции бюджетам бюджетной системы Российской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Федерации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52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7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37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39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50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20815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Иные межбюджетные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трансферты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257,1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0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7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67,8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6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122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Прочие безвозмездные поступления в бюджеты городских </a:t>
                      </a:r>
                      <a:r>
                        <a:rPr lang="ru-RU" sz="1200" b="0" i="0" u="none" strike="noStrike" dirty="0" smtClean="0">
                          <a:latin typeface="Times New Roman"/>
                        </a:rPr>
                        <a:t>округов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1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latin typeface="Times New Roman"/>
                        </a:rPr>
                        <a:t>0,6</a:t>
                      </a:r>
                      <a:endParaRPr lang="ru-RU" sz="1200" b="0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36769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latin typeface="Times New Roman"/>
                        </a:rPr>
                        <a:t>Возврат остатков прошлых лет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-0,9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-10,2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>
                          <a:latin typeface="Times New Roman"/>
                        </a:rPr>
                        <a:t>0,0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  <a:tr h="511038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latin typeface="Times New Roman"/>
                        </a:rPr>
                        <a:t>                                        ИТОГО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795,5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885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</a:t>
                      </a:r>
                      <a:r>
                        <a:rPr lang="ru-RU" sz="1200" b="1" i="0" u="none" strike="noStrike" dirty="0" smtClean="0">
                          <a:latin typeface="Times New Roman"/>
                        </a:rPr>
                        <a:t>773,4</a:t>
                      </a:r>
                      <a:endParaRPr lang="ru-RU" sz="1200" b="1" i="0" u="none" strike="noStrike" dirty="0">
                        <a:latin typeface="Times New Roman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>
                          <a:latin typeface="Times New Roman"/>
                        </a:rPr>
                        <a:t>1 660,6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latin typeface="Times New Roman"/>
                        </a:rPr>
                        <a:t>1 284,3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1990" name="Text Box 6"/>
          <p:cNvSpPr txBox="1">
            <a:spLocks noChangeArrowheads="1"/>
          </p:cNvSpPr>
          <p:nvPr/>
        </p:nvSpPr>
        <p:spPr bwMode="auto">
          <a:xfrm>
            <a:off x="7596188" y="1196975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358114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поступлений доходов бюджета 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/>
          </p:nvPr>
        </p:nvGraphicFramePr>
        <p:xfrm>
          <a:off x="571472" y="1142984"/>
          <a:ext cx="8229600" cy="528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налоговых и неналоговых доходов бюджета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2" name="Text Box 7"/>
          <p:cNvSpPr txBox="1">
            <a:spLocks noChangeArrowheads="1"/>
          </p:cNvSpPr>
          <p:nvPr/>
        </p:nvSpPr>
        <p:spPr bwMode="auto">
          <a:xfrm>
            <a:off x="7143768" y="1285860"/>
            <a:ext cx="152910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600" b="1" dirty="0" smtClean="0"/>
              <a:t>млн. рублей</a:t>
            </a:r>
            <a:endParaRPr lang="ru-RU" sz="1600" b="1" dirty="0"/>
          </a:p>
        </p:txBody>
      </p:sp>
      <p:graphicFrame>
        <p:nvGraphicFramePr>
          <p:cNvPr id="211970" name="Object 3"/>
          <p:cNvGraphicFramePr>
            <a:graphicFrameLocks noChangeAspect="1"/>
          </p:cNvGraphicFramePr>
          <p:nvPr/>
        </p:nvGraphicFramePr>
        <p:xfrm>
          <a:off x="0" y="1577975"/>
          <a:ext cx="9201150" cy="4365625"/>
        </p:xfrm>
        <a:graphic>
          <a:graphicData uri="http://schemas.openxmlformats.org/presentationml/2006/ole">
            <p:oleObj spid="_x0000_s266242" name="Worksheet" r:id="rId5" imgW="7305660" imgH="346701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58000"/>
          </a:xfrm>
          <a:prstGeom prst="rect">
            <a:avLst/>
          </a:prstGeom>
          <a:noFill/>
        </p:spPr>
      </p:pic>
      <p:sp>
        <p:nvSpPr>
          <p:cNvPr id="3076" name="Text Box 5"/>
          <p:cNvSpPr txBox="1">
            <a:spLocks noChangeArrowheads="1"/>
          </p:cNvSpPr>
          <p:nvPr/>
        </p:nvSpPr>
        <p:spPr bwMode="auto">
          <a:xfrm>
            <a:off x="7358082" y="1643050"/>
            <a:ext cx="152876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500034" y="714356"/>
            <a:ext cx="8429684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алоговых доходов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3075" name="Object 4"/>
          <p:cNvGraphicFramePr>
            <a:graphicFrameLocks noGrp="1" noChangeAspect="1"/>
          </p:cNvGraphicFramePr>
          <p:nvPr/>
        </p:nvGraphicFramePr>
        <p:xfrm>
          <a:off x="-252536" y="2132856"/>
          <a:ext cx="9721080" cy="4283094"/>
        </p:xfrm>
        <a:graphic>
          <a:graphicData uri="http://schemas.openxmlformats.org/presentationml/2006/ole">
            <p:oleObj spid="_x0000_s3075" name="Worksheet" r:id="rId4" imgW="6534270" imgH="232401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8" name="File"/>
          <p:cNvSpPr>
            <a:spLocks noEditPoints="1" noChangeArrowheads="1"/>
          </p:cNvSpPr>
          <p:nvPr/>
        </p:nvSpPr>
        <p:spPr bwMode="auto">
          <a:xfrm>
            <a:off x="500063" y="4786322"/>
            <a:ext cx="8643937" cy="1857388"/>
          </a:xfrm>
          <a:custGeom>
            <a:avLst/>
            <a:gdLst>
              <a:gd name="T0" fmla="*/ 2147483647 w 21600"/>
              <a:gd name="T1" fmla="*/ 2147483647 h 21600"/>
              <a:gd name="T2" fmla="*/ 0 w 21600"/>
              <a:gd name="T3" fmla="*/ 2147483647 h 21600"/>
              <a:gd name="T4" fmla="*/ 2147483647 w 21600"/>
              <a:gd name="T5" fmla="*/ 2147483647 h 21600"/>
              <a:gd name="T6" fmla="*/ 2147483647 w 21600"/>
              <a:gd name="T7" fmla="*/ 2147483647 h 21600"/>
              <a:gd name="T8" fmla="*/ 0 w 21600"/>
              <a:gd name="T9" fmla="*/ 2147483647 h 21600"/>
              <a:gd name="T10" fmla="*/ 2147483647 w 21600"/>
              <a:gd name="T11" fmla="*/ 2147483647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blipFill>
            <a:blip r:embed="rId3" cstate="print"/>
            <a:tile tx="0" ty="0" sx="100000" sy="100000" flip="none" algn="tl"/>
          </a:blipFill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just"/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Доходы бюджета города по налогу на доходы физических лиц в 2021 году </a:t>
            </a:r>
            <a:r>
              <a:rPr lang="ru-RU" sz="1800" b="1" dirty="0" err="1" smtClean="0">
                <a:solidFill>
                  <a:schemeClr val="tx2">
                    <a:lumMod val="75000"/>
                  </a:schemeClr>
                </a:solidFill>
              </a:rPr>
              <a:t>прогнозно</a:t>
            </a:r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 составят 165,6 млн. руб., в 2022 году – 168,9 млн. руб., в 2023 году – 172,3 млн. руб.</a:t>
            </a:r>
          </a:p>
          <a:p>
            <a:pPr algn="just"/>
            <a:r>
              <a:rPr lang="ru-RU" sz="1800" b="1" dirty="0" smtClean="0">
                <a:solidFill>
                  <a:schemeClr val="tx2">
                    <a:lumMod val="75000"/>
                  </a:schemeClr>
                </a:solidFill>
              </a:rPr>
              <a:t>При расчете учитывался норматив отчислений в бюджет города в размере 27%. </a:t>
            </a: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539552" y="2564904"/>
          <a:ext cx="3502172" cy="23042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TextBox 10"/>
          <p:cNvSpPr txBox="1"/>
          <p:nvPr/>
        </p:nvSpPr>
        <p:spPr>
          <a:xfrm>
            <a:off x="357158" y="3714752"/>
            <a:ext cx="1093569" cy="4770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500" dirty="0" smtClean="0"/>
              <a:t>54,2 %</a:t>
            </a:r>
          </a:p>
        </p:txBody>
      </p:sp>
      <p:graphicFrame>
        <p:nvGraphicFramePr>
          <p:cNvPr id="12" name="Диаграмма 11"/>
          <p:cNvGraphicFramePr/>
          <p:nvPr/>
        </p:nvGraphicFramePr>
        <p:xfrm>
          <a:off x="1475656" y="1052736"/>
          <a:ext cx="4896544" cy="25214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3" name="Диаграмма 12"/>
          <p:cNvGraphicFramePr/>
          <p:nvPr/>
        </p:nvGraphicFramePr>
        <p:xfrm>
          <a:off x="4500562" y="3786190"/>
          <a:ext cx="3143272" cy="12144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8" name="Диаграмма 17"/>
          <p:cNvGraphicFramePr/>
          <p:nvPr/>
        </p:nvGraphicFramePr>
        <p:xfrm>
          <a:off x="5076056" y="2492896"/>
          <a:ext cx="3923928" cy="2520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1142976" y="142852"/>
            <a:ext cx="778674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lt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Наибольший удельный вес в доходной части бюджета города из числа налоговых доходов занимает НДФЛ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5" name="Прямоугольник 14"/>
          <p:cNvSpPr/>
          <p:nvPr/>
        </p:nvSpPr>
        <p:spPr>
          <a:xfrm>
            <a:off x="1000100" y="2643182"/>
            <a:ext cx="642942" cy="70788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4000" b="1" cap="none" spc="0" dirty="0" smtClean="0">
                <a:ln w="900" cmpd="sng">
                  <a:solidFill>
                    <a:schemeClr val="accent1">
                      <a:satMod val="190000"/>
                      <a:alpha val="55000"/>
                    </a:schemeClr>
                  </a:solidFill>
                  <a:prstDash val="solid"/>
                </a:ln>
                <a:solidFill>
                  <a:schemeClr val="accent1">
                    <a:satMod val="200000"/>
                    <a:tint val="3000"/>
                  </a:schemeClr>
                </a:solidFill>
                <a:effectLst>
                  <a:innerShdw blurRad="101600" dist="76200" dir="5400000">
                    <a:schemeClr val="accent1">
                      <a:satMod val="190000"/>
                      <a:tint val="100000"/>
                      <a:alpha val="74000"/>
                    </a:schemeClr>
                  </a:innerShdw>
                </a:effectLst>
              </a:rPr>
              <a:t>%</a:t>
            </a:r>
            <a:endParaRPr lang="ru-RU" sz="4000" b="1" cap="none" spc="0" dirty="0">
              <a:ln w="900" cmpd="sng">
                <a:solidFill>
                  <a:schemeClr val="accent1">
                    <a:satMod val="190000"/>
                    <a:alpha val="55000"/>
                  </a:schemeClr>
                </a:solidFill>
                <a:prstDash val="solid"/>
              </a:ln>
              <a:solidFill>
                <a:schemeClr val="accent1">
                  <a:satMod val="200000"/>
                  <a:tint val="3000"/>
                </a:schemeClr>
              </a:solidFill>
              <a:effectLst>
                <a:innerShdw blurRad="101600" dist="76200" dir="5400000">
                  <a:schemeClr val="accent1">
                    <a:satMod val="190000"/>
                    <a:tint val="100000"/>
                    <a:alpha val="74000"/>
                  </a:schemeClr>
                </a:innerShdw>
              </a:effectLst>
            </a:endParaRPr>
          </a:p>
        </p:txBody>
      </p:sp>
      <p:graphicFrame>
        <p:nvGraphicFramePr>
          <p:cNvPr id="18" name="Диаграмма 17"/>
          <p:cNvGraphicFramePr/>
          <p:nvPr/>
        </p:nvGraphicFramePr>
        <p:xfrm>
          <a:off x="357158" y="1214422"/>
          <a:ext cx="8572560" cy="32147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071538" y="214290"/>
            <a:ext cx="778674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Значительный удельный вес в доходной части бюджета города из числа налоговых доходов занимают налоги на имущество</a:t>
            </a:r>
            <a:endParaRPr lang="ru-RU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467544" y="4797152"/>
            <a:ext cx="3168352" cy="1800200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земельному налогу в 2021 году ниже уровня ожидаемых поступлений в 2020 году         на 7,7 млн. руб. 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3995936" y="4869160"/>
            <a:ext cx="4752528" cy="1728192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 города по налогу на имущество физических лиц в 20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21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  году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ыше уровня ожидаемых поступлений в 2020 году    на 0,32 млн.руб. 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  <p:bldP spid="12" grpId="0" animBg="1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2" name="Text Box 5"/>
          <p:cNvSpPr txBox="1">
            <a:spLocks noChangeArrowheads="1"/>
          </p:cNvSpPr>
          <p:nvPr/>
        </p:nvSpPr>
        <p:spPr bwMode="auto">
          <a:xfrm>
            <a:off x="7524750" y="112553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13" name="AutoShape 2"/>
          <p:cNvSpPr>
            <a:spLocks noChangeArrowheads="1"/>
          </p:cNvSpPr>
          <p:nvPr/>
        </p:nvSpPr>
        <p:spPr bwMode="auto">
          <a:xfrm>
            <a:off x="1285852" y="142852"/>
            <a:ext cx="7215238" cy="92867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неналоговых доходов</a:t>
            </a:r>
            <a:b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</a:t>
            </a: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  <p:graphicFrame>
        <p:nvGraphicFramePr>
          <p:cNvPr id="4100" name="Object 3"/>
          <p:cNvGraphicFramePr>
            <a:graphicFrameLocks noGrp="1" noChangeAspect="1"/>
          </p:cNvGraphicFramePr>
          <p:nvPr>
            <p:ph/>
          </p:nvPr>
        </p:nvGraphicFramePr>
        <p:xfrm>
          <a:off x="690562" y="1571612"/>
          <a:ext cx="8239156" cy="3292475"/>
        </p:xfrm>
        <a:graphic>
          <a:graphicData uri="http://schemas.openxmlformats.org/presentationml/2006/ole">
            <p:oleObj spid="_x0000_s4100" name="Worksheet" r:id="rId4" imgW="8705880" imgH="3390990" progId="Excel.Sheet.8">
              <p:embed/>
            </p:oleObj>
          </a:graphicData>
        </a:graphic>
      </p:graphicFrame>
      <p:sp>
        <p:nvSpPr>
          <p:cNvPr id="10" name="Скругленный прямоугольник 9"/>
          <p:cNvSpPr/>
          <p:nvPr/>
        </p:nvSpPr>
        <p:spPr>
          <a:xfrm>
            <a:off x="251520" y="4869160"/>
            <a:ext cx="4248472" cy="16561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сновную долю неналоговых доходов составляют доходы от использования имущества находящегося в муниципальной собственности, которые в 2020 году составят 36,6 млн. руб. и 38,0 млн. руб. в 2021-2023 годах ежегодно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220072" y="4869160"/>
            <a:ext cx="3456384" cy="16561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чие неналоговые доходы  ожидаемые в 2020 году составят 11,7 млн. руб.,  в 2021 - 2023 годах  3,3 млн. руб. ежегодно </a:t>
            </a: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  <p:bldP spid="11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" name="Скругленный прямоугольник 7"/>
          <p:cNvSpPr/>
          <p:nvPr/>
        </p:nvSpPr>
        <p:spPr>
          <a:xfrm>
            <a:off x="500034" y="214290"/>
            <a:ext cx="8286808" cy="3214710"/>
          </a:xfrm>
          <a:prstGeom prst="roundRect">
            <a:avLst/>
          </a:prstGeom>
          <a:noFill/>
          <a:ln>
            <a:noFill/>
          </a:ln>
          <a:effectLst>
            <a:glow rad="228600">
              <a:schemeClr val="accent3">
                <a:satMod val="175000"/>
                <a:alpha val="40000"/>
              </a:schemeClr>
            </a:glow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lnSpc>
                <a:spcPts val="2880"/>
              </a:lnSpc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Железноводск - город расположен на юге Ставропольской возвышенности, в предгорьях Большого Кавказа. Население города составляет более 50 тысяч человек. В административные границы Железноводска входят: поселок Иноземцево, микрорайон Бештау, жилые районы - Капельница и Розы Люксембург. </a:t>
            </a:r>
          </a:p>
          <a:p>
            <a:pPr algn="ctr">
              <a:lnSpc>
                <a:spcPts val="2880"/>
              </a:lnSpc>
              <a:defRPr/>
            </a:pP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Железноводск — самый динамично развивающийся курорт </a:t>
            </a:r>
            <a:r>
              <a:rPr lang="ru-RU" dirty="0" err="1" smtClean="0">
                <a:latin typeface="Times New Roman" pitchFamily="18" charset="0"/>
                <a:cs typeface="Times New Roman" pitchFamily="18" charset="0"/>
              </a:rPr>
              <a:t>Кавминвод</a:t>
            </a:r>
            <a:r>
              <a:rPr lang="ru-RU" dirty="0" smtClean="0">
                <a:latin typeface="Times New Roman" pitchFamily="18" charset="0"/>
                <a:cs typeface="Times New Roman" pitchFamily="18" charset="0"/>
              </a:rPr>
              <a:t>. В 2003 году ему присвоено звание «Лучший город России» среди малых городов. В 2020 году был проведен Всероссийский конкурс «Лучшая муниципальная практика», где Железноводск занял 1 место и получил 75 млн.рублей для внедрения системы «Умный город».</a:t>
            </a:r>
            <a:endParaRPr lang="ru-RU" b="1" i="1" kern="0" dirty="0" smtClean="0">
              <a:solidFill>
                <a:schemeClr val="bg1"/>
              </a:solidFill>
              <a:latin typeface="Times New Roman" pitchFamily="18" charset="0"/>
              <a:ea typeface="+mj-ea"/>
              <a:cs typeface="Times New Roman" pitchFamily="18" charset="0"/>
            </a:endParaRPr>
          </a:p>
        </p:txBody>
      </p:sp>
      <p:sp>
        <p:nvSpPr>
          <p:cNvPr id="230402" name="AutoShape 2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0404" name="AutoShape 4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0406" name="AutoShape 6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0408" name="AutoShape 8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30410" name="AutoShape 10" descr="https://cdn.photosight.ru/img/5/cb9/6821149_xlarge.jpg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230412" name="Picture 12" descr="https://avatars.mds.yandex.net/get-pdb/777813/77b6101a-d127-4732-8888-2d65f4f50475/s1200?webp=false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357290" y="3643314"/>
            <a:ext cx="6929486" cy="321468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" name="Object 3"/>
          <p:cNvGraphicFramePr>
            <a:graphicFrameLocks noGrp="1" noChangeAspect="1"/>
          </p:cNvGraphicFramePr>
          <p:nvPr/>
        </p:nvGraphicFramePr>
        <p:xfrm>
          <a:off x="639763" y="1211263"/>
          <a:ext cx="8286750" cy="4138612"/>
        </p:xfrm>
        <a:graphic>
          <a:graphicData uri="http://schemas.openxmlformats.org/presentationml/2006/ole">
            <p:oleObj spid="_x0000_s83970" name="Worksheet" r:id="rId4" imgW="8629740" imgH="4305390" progId="Excel.Sheet.8">
              <p:embed/>
            </p:oleObj>
          </a:graphicData>
        </a:graphic>
      </p:graphicFrame>
      <p:sp>
        <p:nvSpPr>
          <p:cNvPr id="4" name="Text Box 5"/>
          <p:cNvSpPr txBox="1">
            <a:spLocks noChangeArrowheads="1"/>
          </p:cNvSpPr>
          <p:nvPr/>
        </p:nvSpPr>
        <p:spPr bwMode="auto">
          <a:xfrm>
            <a:off x="7572396" y="128586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57290" y="214290"/>
            <a:ext cx="7215238" cy="107157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sz="2400" b="1" i="1" dirty="0" smtClean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Доходы от использования имущества, находящегося в муниципальной собственности</a:t>
            </a:r>
            <a:endParaRPr lang="ru-RU" sz="2400" b="1" dirty="0" smtClean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algn="ctr">
              <a:defRPr sz="2160" b="1" i="0" u="none" strike="noStrike" kern="1200" baseline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pP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79512" y="5661248"/>
            <a:ext cx="8712968" cy="1008112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ru-RU" sz="2400" dirty="0" smtClean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  <a:p>
            <a:pPr algn="ctr"/>
            <a:r>
              <a:rPr lang="ru-RU" sz="2400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от использования имущества находящегося в муниципальной собственности ожидаемые в 2020 году составят 36,6 млн. руб. и 38,0 млн. руб. в 2021-2023 годах ежегодно</a:t>
            </a:r>
          </a:p>
          <a:p>
            <a:pPr algn="ctr"/>
            <a:endParaRPr lang="ru-RU" sz="16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1990" name="Text Box 6"/>
          <p:cNvSpPr txBox="1">
            <a:spLocks noChangeArrowheads="1"/>
          </p:cNvSpPr>
          <p:nvPr/>
        </p:nvSpPr>
        <p:spPr bwMode="auto">
          <a:xfrm>
            <a:off x="7596188" y="1196975"/>
            <a:ext cx="1243012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/>
              <a:t>млн.рублей</a:t>
            </a:r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358114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Структура безвозмездных поступлений в бюджет </a:t>
            </a:r>
            <a:b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</a:b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9" name="Содержимое 8"/>
          <p:cNvGraphicFramePr>
            <a:graphicFrameLocks noGrp="1"/>
          </p:cNvGraphicFramePr>
          <p:nvPr>
            <p:ph/>
          </p:nvPr>
        </p:nvGraphicFramePr>
        <p:xfrm>
          <a:off x="571472" y="1142984"/>
          <a:ext cx="8229600" cy="52864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4754" name="AutoShape 2"/>
          <p:cNvSpPr>
            <a:spLocks noChangeArrowheads="1"/>
          </p:cNvSpPr>
          <p:nvPr/>
        </p:nvSpPr>
        <p:spPr bwMode="auto">
          <a:xfrm>
            <a:off x="1142976" y="214290"/>
            <a:ext cx="707706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Динамика расходов бюджета </a:t>
            </a:r>
            <a:r>
              <a:rPr lang="ru-RU" sz="2400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рода-курорта Железноводска Ставропольского края</a:t>
            </a:r>
            <a:endParaRPr lang="ru-RU" sz="2400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17" name="Object 92"/>
          <p:cNvGraphicFramePr>
            <a:graphicFrameLocks noChangeAspect="1"/>
          </p:cNvGraphicFramePr>
          <p:nvPr/>
        </p:nvGraphicFramePr>
        <p:xfrm>
          <a:off x="214282" y="1357298"/>
          <a:ext cx="8215339" cy="52863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pSp>
        <p:nvGrpSpPr>
          <p:cNvPr id="5" name="Группа 9"/>
          <p:cNvGrpSpPr/>
          <p:nvPr/>
        </p:nvGrpSpPr>
        <p:grpSpPr>
          <a:xfrm rot="952971">
            <a:off x="1802671" y="3380903"/>
            <a:ext cx="2395384" cy="978662"/>
            <a:chOff x="840757" y="3115098"/>
            <a:chExt cx="3060764" cy="1089100"/>
          </a:xfrm>
          <a:solidFill>
            <a:srgbClr val="00B050"/>
          </a:solidFill>
        </p:grpSpPr>
        <p:sp>
          <p:nvSpPr>
            <p:cNvPr id="6" name="Стрелка вверх 5"/>
            <p:cNvSpPr/>
            <p:nvPr>
              <p:custDataLst>
                <p:tags r:id="rId2"/>
              </p:custDataLst>
            </p:nvPr>
          </p:nvSpPr>
          <p:spPr>
            <a:xfrm rot="3863698">
              <a:off x="3630243" y="3129376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7" name="Прямая соединительная линия 6"/>
            <p:cNvCxnSpPr/>
            <p:nvPr/>
          </p:nvCxnSpPr>
          <p:spPr>
            <a:xfrm rot="20647029" flipH="1">
              <a:off x="840757" y="3746421"/>
              <a:ext cx="2824791" cy="457777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00B050"/>
                  </a:gs>
                  <a:gs pos="0">
                    <a:srgbClr val="92D050">
                      <a:alpha val="26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Группа 25"/>
          <p:cNvGrpSpPr/>
          <p:nvPr/>
        </p:nvGrpSpPr>
        <p:grpSpPr>
          <a:xfrm rot="409763">
            <a:off x="4194082" y="3905993"/>
            <a:ext cx="2028546" cy="227577"/>
            <a:chOff x="1389359" y="3286222"/>
            <a:chExt cx="1435312" cy="285556"/>
          </a:xfrm>
          <a:solidFill>
            <a:srgbClr val="FF6600"/>
          </a:solidFill>
        </p:grpSpPr>
        <p:sp>
          <p:nvSpPr>
            <p:cNvPr id="9" name="Стрелка вверх 8"/>
            <p:cNvSpPr/>
            <p:nvPr>
              <p:custDataLst>
                <p:tags r:id="rId1"/>
              </p:custDataLst>
            </p:nvPr>
          </p:nvSpPr>
          <p:spPr>
            <a:xfrm rot="5400000">
              <a:off x="2553393" y="3300500"/>
              <a:ext cx="285556" cy="257000"/>
            </a:xfrm>
            <a:prstGeom prst="upArrow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>
                <a:latin typeface="Times New Roman" pitchFamily="18" charset="0"/>
                <a:cs typeface="Times New Roman" pitchFamily="18" charset="0"/>
              </a:endParaRPr>
            </a:p>
          </p:txBody>
        </p:sp>
        <p:cxnSp>
          <p:nvCxnSpPr>
            <p:cNvPr id="10" name="Прямая соединительная линия 9"/>
            <p:cNvCxnSpPr/>
            <p:nvPr/>
          </p:nvCxnSpPr>
          <p:spPr>
            <a:xfrm flipH="1">
              <a:off x="1389359" y="3429000"/>
              <a:ext cx="1008112" cy="0"/>
            </a:xfrm>
            <a:prstGeom prst="line">
              <a:avLst/>
            </a:prstGeom>
            <a:grpFill/>
            <a:ln w="120650" cap="rnd">
              <a:gradFill flip="none" rotWithShape="1">
                <a:gsLst>
                  <a:gs pos="100000">
                    <a:srgbClr val="FF6600"/>
                  </a:gs>
                  <a:gs pos="2000">
                    <a:srgbClr val="FFC000">
                      <a:alpha val="28000"/>
                    </a:srgbClr>
                  </a:gs>
                </a:gsLst>
                <a:lin ang="10800000" scaled="1"/>
                <a:tileRect/>
              </a:gra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4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down)">
                                      <p:cBhvr>
                                        <p:cTn id="7" dur="2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8320" name="File"/>
          <p:cNvSpPr>
            <a:spLocks noEditPoints="1" noChangeArrowheads="1"/>
          </p:cNvSpPr>
          <p:nvPr/>
        </p:nvSpPr>
        <p:spPr bwMode="auto">
          <a:xfrm>
            <a:off x="4857752" y="1357298"/>
            <a:ext cx="3786214" cy="428628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2" name="File"/>
          <p:cNvSpPr>
            <a:spLocks noEditPoints="1" noChangeArrowheads="1"/>
          </p:cNvSpPr>
          <p:nvPr/>
        </p:nvSpPr>
        <p:spPr bwMode="auto">
          <a:xfrm>
            <a:off x="4857752" y="2709862"/>
            <a:ext cx="3786214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3" name="File"/>
          <p:cNvSpPr>
            <a:spLocks noEditPoints="1" noChangeArrowheads="1"/>
          </p:cNvSpPr>
          <p:nvPr/>
        </p:nvSpPr>
        <p:spPr bwMode="auto">
          <a:xfrm>
            <a:off x="4857751" y="5145110"/>
            <a:ext cx="3857653" cy="712782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4" name="File"/>
          <p:cNvSpPr>
            <a:spLocks noEditPoints="1" noChangeArrowheads="1"/>
          </p:cNvSpPr>
          <p:nvPr/>
        </p:nvSpPr>
        <p:spPr bwMode="auto">
          <a:xfrm>
            <a:off x="4857752" y="1928802"/>
            <a:ext cx="3786214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5" name="File"/>
          <p:cNvSpPr>
            <a:spLocks noEditPoints="1" noChangeArrowheads="1"/>
          </p:cNvSpPr>
          <p:nvPr/>
        </p:nvSpPr>
        <p:spPr bwMode="auto">
          <a:xfrm>
            <a:off x="4857752" y="4352948"/>
            <a:ext cx="3857652" cy="647688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6" name="File"/>
          <p:cNvSpPr>
            <a:spLocks noEditPoints="1" noChangeArrowheads="1"/>
          </p:cNvSpPr>
          <p:nvPr/>
        </p:nvSpPr>
        <p:spPr bwMode="auto">
          <a:xfrm>
            <a:off x="4857752" y="5996010"/>
            <a:ext cx="3929090" cy="64770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26" name="Rectangle 19"/>
          <p:cNvSpPr>
            <a:spLocks noChangeArrowheads="1"/>
          </p:cNvSpPr>
          <p:nvPr/>
        </p:nvSpPr>
        <p:spPr bwMode="auto">
          <a:xfrm>
            <a:off x="4857753" y="1500174"/>
            <a:ext cx="3786214" cy="2646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Образование (904,3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1400" b="1" i="1" dirty="0" smtClean="0">
                <a:latin typeface="Arial" charset="0"/>
              </a:rPr>
              <a:t>51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27" name="Rectangle 19"/>
          <p:cNvSpPr>
            <a:spLocks noChangeArrowheads="1"/>
          </p:cNvSpPr>
          <p:nvPr/>
        </p:nvSpPr>
        <p:spPr bwMode="auto">
          <a:xfrm>
            <a:off x="4857752" y="2928934"/>
            <a:ext cx="3857652" cy="4370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  <a:defRPr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Социальная политика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379,4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 – </a:t>
            </a:r>
            <a:r>
              <a:rPr lang="ru-RU" sz="1400" b="1" i="1" dirty="0" smtClean="0">
                <a:latin typeface="Arial" charset="0"/>
              </a:rPr>
              <a:t>21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28" name="Rectangle 19"/>
          <p:cNvSpPr>
            <a:spLocks noChangeArrowheads="1"/>
          </p:cNvSpPr>
          <p:nvPr/>
        </p:nvSpPr>
        <p:spPr bwMode="auto">
          <a:xfrm>
            <a:off x="4857752" y="2071678"/>
            <a:ext cx="3929048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Жилищно-коммунальное 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хозяйство</a:t>
            </a: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94,3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.)–</a:t>
            </a:r>
            <a:r>
              <a:rPr lang="ru-RU" sz="1400" b="1" i="1" dirty="0" smtClean="0">
                <a:latin typeface="Arial" charset="0"/>
              </a:rPr>
              <a:t>11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29" name="Rectangle 19"/>
          <p:cNvSpPr>
            <a:spLocks noChangeArrowheads="1"/>
          </p:cNvSpPr>
          <p:nvPr/>
        </p:nvSpPr>
        <p:spPr bwMode="auto">
          <a:xfrm>
            <a:off x="4929190" y="4500571"/>
            <a:ext cx="3714776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Национальная экономика </a:t>
            </a: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60,5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</a:t>
            </a: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.) </a:t>
            </a:r>
            <a:r>
              <a:rPr lang="ru-RU" sz="1400" b="1" i="1" dirty="0" smtClean="0">
                <a:latin typeface="Arial" charset="0"/>
              </a:rPr>
              <a:t>– 3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30" name="Rectangle 19"/>
          <p:cNvSpPr>
            <a:spLocks noChangeArrowheads="1"/>
          </p:cNvSpPr>
          <p:nvPr/>
        </p:nvSpPr>
        <p:spPr bwMode="auto">
          <a:xfrm>
            <a:off x="4929190" y="5357826"/>
            <a:ext cx="3714776" cy="480131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Общегосударственные вопросы 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47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latin typeface="Arial" charset="0"/>
              </a:rPr>
              <a:t>8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31" name="Rectangle 19"/>
          <p:cNvSpPr>
            <a:spLocks noChangeArrowheads="1"/>
          </p:cNvSpPr>
          <p:nvPr/>
        </p:nvSpPr>
        <p:spPr bwMode="auto">
          <a:xfrm>
            <a:off x="4929190" y="6143644"/>
            <a:ext cx="3857611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Культура и кинематография 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49,9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latin typeface="Arial" charset="0"/>
              </a:rPr>
              <a:t>3%</a:t>
            </a:r>
            <a:endParaRPr lang="ru-RU" sz="1400" b="1" i="1" dirty="0">
              <a:latin typeface="Arial" charset="0"/>
            </a:endParaRPr>
          </a:p>
        </p:txBody>
      </p:sp>
      <p:sp>
        <p:nvSpPr>
          <p:cNvPr id="33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Основные направления финансирования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Times New Roman" pitchFamily="18" charset="0"/>
              </a:rPr>
              <a:t>в 2021 году</a:t>
            </a:r>
            <a:endParaRPr lang="ru-RU" b="1" spc="50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graphicFrame>
        <p:nvGraphicFramePr>
          <p:cNvPr id="25" name="Диаграмма 24"/>
          <p:cNvGraphicFramePr/>
          <p:nvPr/>
        </p:nvGraphicFramePr>
        <p:xfrm>
          <a:off x="214282" y="1643050"/>
          <a:ext cx="4500594" cy="46434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5" name="Text Box 1"/>
          <p:cNvSpPr txBox="1">
            <a:spLocks noChangeArrowheads="1"/>
          </p:cNvSpPr>
          <p:nvPr/>
        </p:nvSpPr>
        <p:spPr bwMode="auto">
          <a:xfrm>
            <a:off x="3000364" y="1285860"/>
            <a:ext cx="1555246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91440" tIns="45720" rIns="91440" bIns="45720" anchor="t" upright="1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l" rtl="0">
              <a:defRPr sz="1000"/>
            </a:pPr>
            <a:r>
              <a:rPr lang="ru-RU" sz="1800" i="0" u="none" strike="noStrike" baseline="0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Calibri"/>
                <a:cs typeface="Calibri"/>
              </a:rPr>
              <a:t>млн.рублей</a:t>
            </a:r>
            <a:endParaRPr lang="ru-RU" sz="1800" i="0" u="none" strike="noStrike" baseline="0" dirty="0">
              <a:solidFill>
                <a:schemeClr val="tx1">
                  <a:lumMod val="85000"/>
                  <a:lumOff val="15000"/>
                </a:schemeClr>
              </a:solidFill>
              <a:latin typeface="Calibri"/>
              <a:cs typeface="Calibri"/>
            </a:endParaRPr>
          </a:p>
        </p:txBody>
      </p:sp>
      <p:sp>
        <p:nvSpPr>
          <p:cNvPr id="20" name="File"/>
          <p:cNvSpPr>
            <a:spLocks noEditPoints="1" noChangeArrowheads="1"/>
          </p:cNvSpPr>
          <p:nvPr/>
        </p:nvSpPr>
        <p:spPr bwMode="auto">
          <a:xfrm>
            <a:off x="4857752" y="3500438"/>
            <a:ext cx="3857652" cy="714380"/>
          </a:xfrm>
          <a:custGeom>
            <a:avLst/>
            <a:gdLst>
              <a:gd name="T0" fmla="*/ 5234544 w 21600"/>
              <a:gd name="T1" fmla="*/ 161925 h 21600"/>
              <a:gd name="T2" fmla="*/ 0 w 21600"/>
              <a:gd name="T3" fmla="*/ 539750 h 21600"/>
              <a:gd name="T4" fmla="*/ 5148263 w 21600"/>
              <a:gd name="T5" fmla="*/ 1079500 h 21600"/>
              <a:gd name="T6" fmla="*/ 10296525 w 21600"/>
              <a:gd name="T7" fmla="*/ 539750 h 21600"/>
              <a:gd name="T8" fmla="*/ 0 w 21600"/>
              <a:gd name="T9" fmla="*/ 1079500 h 21600"/>
              <a:gd name="T10" fmla="*/ 10296525 w 21600"/>
              <a:gd name="T11" fmla="*/ 1079500 h 21600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1086 w 21600"/>
              <a:gd name="T19" fmla="*/ 4628 h 21600"/>
              <a:gd name="T20" fmla="*/ 20635 w 21600"/>
              <a:gd name="T21" fmla="*/ 20289 h 21600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21600" h="21600">
                <a:moveTo>
                  <a:pt x="19790" y="3240"/>
                </a:moveTo>
                <a:cubicBezTo>
                  <a:pt x="10981" y="3240"/>
                  <a:pt x="9171" y="3240"/>
                  <a:pt x="9050" y="3086"/>
                </a:cubicBezTo>
                <a:cubicBezTo>
                  <a:pt x="9050" y="2931"/>
                  <a:pt x="8930" y="2777"/>
                  <a:pt x="8930" y="2469"/>
                </a:cubicBezTo>
                <a:cubicBezTo>
                  <a:pt x="8930" y="2160"/>
                  <a:pt x="8809" y="1851"/>
                  <a:pt x="8688" y="1389"/>
                </a:cubicBezTo>
                <a:cubicBezTo>
                  <a:pt x="8568" y="1080"/>
                  <a:pt x="8326" y="771"/>
                  <a:pt x="8085" y="463"/>
                </a:cubicBezTo>
                <a:cubicBezTo>
                  <a:pt x="7723" y="154"/>
                  <a:pt x="7361" y="0"/>
                  <a:pt x="7361" y="0"/>
                </a:cubicBezTo>
                <a:cubicBezTo>
                  <a:pt x="7361" y="0"/>
                  <a:pt x="2293" y="0"/>
                  <a:pt x="2051" y="154"/>
                </a:cubicBezTo>
                <a:cubicBezTo>
                  <a:pt x="1689" y="309"/>
                  <a:pt x="1448" y="463"/>
                  <a:pt x="1327" y="771"/>
                </a:cubicBezTo>
                <a:cubicBezTo>
                  <a:pt x="1207" y="1080"/>
                  <a:pt x="1086" y="1389"/>
                  <a:pt x="965" y="1697"/>
                </a:cubicBezTo>
                <a:cubicBezTo>
                  <a:pt x="845" y="2160"/>
                  <a:pt x="724" y="2314"/>
                  <a:pt x="724" y="2469"/>
                </a:cubicBezTo>
                <a:cubicBezTo>
                  <a:pt x="603" y="2623"/>
                  <a:pt x="603" y="2777"/>
                  <a:pt x="483" y="2931"/>
                </a:cubicBezTo>
                <a:cubicBezTo>
                  <a:pt x="483" y="3086"/>
                  <a:pt x="362" y="3240"/>
                  <a:pt x="241" y="3240"/>
                </a:cubicBezTo>
                <a:lnTo>
                  <a:pt x="0" y="3394"/>
                </a:lnTo>
                <a:lnTo>
                  <a:pt x="0" y="3703"/>
                </a:lnTo>
                <a:lnTo>
                  <a:pt x="0" y="10800"/>
                </a:lnTo>
                <a:lnTo>
                  <a:pt x="0" y="21600"/>
                </a:lnTo>
                <a:lnTo>
                  <a:pt x="10981" y="21600"/>
                </a:lnTo>
                <a:lnTo>
                  <a:pt x="21600" y="21600"/>
                </a:lnTo>
                <a:lnTo>
                  <a:pt x="21600" y="10800"/>
                </a:lnTo>
                <a:lnTo>
                  <a:pt x="21600" y="5246"/>
                </a:lnTo>
                <a:lnTo>
                  <a:pt x="21600" y="4783"/>
                </a:lnTo>
                <a:cubicBezTo>
                  <a:pt x="21479" y="4320"/>
                  <a:pt x="21359" y="4011"/>
                  <a:pt x="21117" y="3703"/>
                </a:cubicBezTo>
                <a:cubicBezTo>
                  <a:pt x="20876" y="3549"/>
                  <a:pt x="20514" y="3394"/>
                  <a:pt x="20152" y="3240"/>
                </a:cubicBezTo>
                <a:close/>
              </a:path>
            </a:pathLst>
          </a:custGeom>
          <a:solidFill>
            <a:schemeClr val="accent2">
              <a:lumMod val="40000"/>
              <a:lumOff val="60000"/>
            </a:schemeClr>
          </a:solidFill>
          <a:ln w="9525" algn="ctr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/>
          <a:lstStyle/>
          <a:p>
            <a:pPr>
              <a:defRPr/>
            </a:pPr>
            <a:endParaRPr lang="ru-RU" sz="1400"/>
          </a:p>
        </p:txBody>
      </p:sp>
      <p:sp>
        <p:nvSpPr>
          <p:cNvPr id="32" name="Rectangle 19"/>
          <p:cNvSpPr>
            <a:spLocks noChangeArrowheads="1"/>
          </p:cNvSpPr>
          <p:nvPr/>
        </p:nvSpPr>
        <p:spPr bwMode="auto">
          <a:xfrm>
            <a:off x="4929190" y="3714752"/>
            <a:ext cx="3714776" cy="4801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Физическая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культура и спорт </a:t>
            </a:r>
            <a:endParaRPr lang="ru-RU" sz="1400" b="1" i="1" dirty="0" smtClean="0">
              <a:solidFill>
                <a:srgbClr val="333300"/>
              </a:solidFill>
              <a:latin typeface="Arial" charset="0"/>
            </a:endParaRPr>
          </a:p>
          <a:p>
            <a:pPr marL="385763" indent="-385763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1400" b="1" i="1" dirty="0" smtClean="0">
                <a:solidFill>
                  <a:srgbClr val="333300"/>
                </a:solidFill>
                <a:latin typeface="Arial" charset="0"/>
              </a:rPr>
              <a:t>(17,6 </a:t>
            </a:r>
            <a:r>
              <a:rPr lang="ru-RU" sz="1400" b="1" i="1" dirty="0">
                <a:solidFill>
                  <a:srgbClr val="333300"/>
                </a:solidFill>
                <a:latin typeface="Arial" charset="0"/>
              </a:rPr>
              <a:t>млн. руб.)– </a:t>
            </a:r>
            <a:r>
              <a:rPr lang="ru-RU" sz="1400" b="1" i="1" dirty="0" smtClean="0">
                <a:latin typeface="Arial" charset="0"/>
              </a:rPr>
              <a:t>1%</a:t>
            </a:r>
            <a:endParaRPr lang="ru-RU" sz="1400" b="1" i="1" dirty="0"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6086" name="Text Box 3"/>
          <p:cNvSpPr txBox="1">
            <a:spLocks noChangeArrowheads="1"/>
          </p:cNvSpPr>
          <p:nvPr/>
        </p:nvSpPr>
        <p:spPr bwMode="auto">
          <a:xfrm>
            <a:off x="7900987" y="2000240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sp>
        <p:nvSpPr>
          <p:cNvPr id="46087" name="Text Box 4"/>
          <p:cNvSpPr txBox="1">
            <a:spLocks noChangeArrowheads="1"/>
          </p:cNvSpPr>
          <p:nvPr/>
        </p:nvSpPr>
        <p:spPr bwMode="auto">
          <a:xfrm>
            <a:off x="1692275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1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8" name="Text Box 5"/>
          <p:cNvSpPr txBox="1">
            <a:spLocks noChangeArrowheads="1"/>
          </p:cNvSpPr>
          <p:nvPr/>
        </p:nvSpPr>
        <p:spPr bwMode="auto">
          <a:xfrm>
            <a:off x="4284663" y="1700213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2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89" name="Text Box 6"/>
          <p:cNvSpPr txBox="1">
            <a:spLocks noChangeArrowheads="1"/>
          </p:cNvSpPr>
          <p:nvPr/>
        </p:nvSpPr>
        <p:spPr bwMode="auto">
          <a:xfrm>
            <a:off x="6877050" y="1702346"/>
            <a:ext cx="857927" cy="36933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800" b="1" dirty="0" smtClean="0">
                <a:latin typeface="Arial" pitchFamily="34" charset="0"/>
              </a:rPr>
              <a:t>2023 </a:t>
            </a:r>
            <a:r>
              <a:rPr lang="ru-RU" sz="1800" b="1" dirty="0">
                <a:latin typeface="Arial" pitchFamily="34" charset="0"/>
              </a:rPr>
              <a:t>г</a:t>
            </a:r>
          </a:p>
        </p:txBody>
      </p:sp>
      <p:sp>
        <p:nvSpPr>
          <p:cNvPr id="46090" name="AutoShape 7"/>
          <p:cNvSpPr>
            <a:spLocks noChangeArrowheads="1"/>
          </p:cNvSpPr>
          <p:nvPr/>
        </p:nvSpPr>
        <p:spPr bwMode="auto">
          <a:xfrm>
            <a:off x="1403350" y="2133600"/>
            <a:ext cx="1511300" cy="2303463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635,1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1" name="AutoShape 8"/>
          <p:cNvSpPr>
            <a:spLocks noChangeArrowheads="1"/>
          </p:cNvSpPr>
          <p:nvPr/>
        </p:nvSpPr>
        <p:spPr bwMode="auto">
          <a:xfrm>
            <a:off x="4000496" y="2285992"/>
            <a:ext cx="1439862" cy="2000264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520,5</a:t>
            </a:r>
            <a:endParaRPr lang="ru-RU" b="1" dirty="0">
              <a:latin typeface="Arial" pitchFamily="34" charset="0"/>
            </a:endParaRPr>
          </a:p>
          <a:p>
            <a:pPr algn="ctr" eaLnBrk="1" hangingPunct="1"/>
            <a:endParaRPr lang="ru-RU" b="1" dirty="0">
              <a:latin typeface="Arial" pitchFamily="34" charset="0"/>
            </a:endParaRPr>
          </a:p>
        </p:txBody>
      </p:sp>
      <p:sp>
        <p:nvSpPr>
          <p:cNvPr id="46092" name="AutoShape 9"/>
          <p:cNvSpPr>
            <a:spLocks noChangeArrowheads="1"/>
          </p:cNvSpPr>
          <p:nvPr/>
        </p:nvSpPr>
        <p:spPr bwMode="auto">
          <a:xfrm>
            <a:off x="6516688" y="2357430"/>
            <a:ext cx="1439862" cy="1935170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 133,2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3" name="AutoShape 10"/>
          <p:cNvSpPr>
            <a:spLocks noChangeArrowheads="1"/>
          </p:cNvSpPr>
          <p:nvPr/>
        </p:nvSpPr>
        <p:spPr bwMode="auto">
          <a:xfrm>
            <a:off x="1403350" y="4572008"/>
            <a:ext cx="1439863" cy="857256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38,3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4" name="AutoShape 11"/>
          <p:cNvSpPr>
            <a:spLocks noChangeArrowheads="1"/>
          </p:cNvSpPr>
          <p:nvPr/>
        </p:nvSpPr>
        <p:spPr bwMode="auto">
          <a:xfrm>
            <a:off x="3995738" y="4508500"/>
            <a:ext cx="1439862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25,3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5" name="AutoShape 12"/>
          <p:cNvSpPr>
            <a:spLocks noChangeArrowheads="1"/>
          </p:cNvSpPr>
          <p:nvPr/>
        </p:nvSpPr>
        <p:spPr bwMode="auto">
          <a:xfrm>
            <a:off x="6516688" y="4437063"/>
            <a:ext cx="1439862" cy="64770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b="1" dirty="0" smtClean="0">
                <a:latin typeface="Arial" pitchFamily="34" charset="0"/>
              </a:rPr>
              <a:t>121,6</a:t>
            </a:r>
            <a:endParaRPr lang="ru-RU" b="1" dirty="0">
              <a:latin typeface="Arial" pitchFamily="34" charset="0"/>
            </a:endParaRPr>
          </a:p>
        </p:txBody>
      </p:sp>
      <p:sp>
        <p:nvSpPr>
          <p:cNvPr id="46096" name="AutoShape 15"/>
          <p:cNvSpPr>
            <a:spLocks/>
          </p:cNvSpPr>
          <p:nvPr/>
        </p:nvSpPr>
        <p:spPr bwMode="auto">
          <a:xfrm>
            <a:off x="1042988" y="2133600"/>
            <a:ext cx="71437" cy="2305050"/>
          </a:xfrm>
          <a:prstGeom prst="leftBrace">
            <a:avLst>
              <a:gd name="adj1" fmla="val 26889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097" name="Text Box 16"/>
          <p:cNvSpPr txBox="1">
            <a:spLocks noChangeArrowheads="1"/>
          </p:cNvSpPr>
          <p:nvPr/>
        </p:nvSpPr>
        <p:spPr bwMode="auto">
          <a:xfrm>
            <a:off x="569213" y="2928933"/>
            <a:ext cx="430887" cy="71438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2,2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8" name="Text Box 17"/>
          <p:cNvSpPr txBox="1">
            <a:spLocks noChangeArrowheads="1"/>
          </p:cNvSpPr>
          <p:nvPr/>
        </p:nvSpPr>
        <p:spPr bwMode="auto">
          <a:xfrm>
            <a:off x="569213" y="4708539"/>
            <a:ext cx="430887" cy="5778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7,8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099" name="Text Box 18"/>
          <p:cNvSpPr txBox="1">
            <a:spLocks noChangeArrowheads="1"/>
          </p:cNvSpPr>
          <p:nvPr/>
        </p:nvSpPr>
        <p:spPr bwMode="auto">
          <a:xfrm>
            <a:off x="3286116" y="3000372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90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0" name="Text Box 19"/>
          <p:cNvSpPr txBox="1">
            <a:spLocks noChangeArrowheads="1"/>
          </p:cNvSpPr>
          <p:nvPr/>
        </p:nvSpPr>
        <p:spPr bwMode="auto">
          <a:xfrm>
            <a:off x="3286116" y="4508501"/>
            <a:ext cx="430887" cy="56357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,5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1" name="Text Box 21"/>
          <p:cNvSpPr txBox="1">
            <a:spLocks noChangeArrowheads="1"/>
          </p:cNvSpPr>
          <p:nvPr/>
        </p:nvSpPr>
        <p:spPr bwMode="auto">
          <a:xfrm>
            <a:off x="5786446" y="2928934"/>
            <a:ext cx="430887" cy="7921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89,7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2" name="Text Box 22"/>
          <p:cNvSpPr txBox="1">
            <a:spLocks noChangeArrowheads="1"/>
          </p:cNvSpPr>
          <p:nvPr/>
        </p:nvSpPr>
        <p:spPr bwMode="auto">
          <a:xfrm>
            <a:off x="5715008" y="4357694"/>
            <a:ext cx="430887" cy="64294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>
                <a:latin typeface="Arial" pitchFamily="34" charset="0"/>
              </a:rPr>
              <a:t> </a:t>
            </a:r>
            <a:r>
              <a:rPr lang="ru-RU" sz="1600" b="1" dirty="0" smtClean="0">
                <a:latin typeface="Arial" pitchFamily="34" charset="0"/>
              </a:rPr>
              <a:t>8,4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46103" name="AutoShape 24"/>
          <p:cNvSpPr>
            <a:spLocks/>
          </p:cNvSpPr>
          <p:nvPr/>
        </p:nvSpPr>
        <p:spPr bwMode="auto">
          <a:xfrm>
            <a:off x="1116013" y="4508500"/>
            <a:ext cx="142875" cy="792163"/>
          </a:xfrm>
          <a:prstGeom prst="leftBrace">
            <a:avLst>
              <a:gd name="adj1" fmla="val 46204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4" name="AutoShape 25"/>
          <p:cNvSpPr>
            <a:spLocks/>
          </p:cNvSpPr>
          <p:nvPr/>
        </p:nvSpPr>
        <p:spPr bwMode="auto">
          <a:xfrm>
            <a:off x="6286513" y="2420938"/>
            <a:ext cx="71437" cy="1871662"/>
          </a:xfrm>
          <a:prstGeom prst="leftBrace">
            <a:avLst>
              <a:gd name="adj1" fmla="val 218335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5" name="AutoShape 26"/>
          <p:cNvSpPr>
            <a:spLocks/>
          </p:cNvSpPr>
          <p:nvPr/>
        </p:nvSpPr>
        <p:spPr bwMode="auto">
          <a:xfrm>
            <a:off x="3779838" y="4437063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06" name="AutoShape 28"/>
          <p:cNvSpPr>
            <a:spLocks noChangeArrowheads="1"/>
          </p:cNvSpPr>
          <p:nvPr/>
        </p:nvSpPr>
        <p:spPr bwMode="auto">
          <a:xfrm>
            <a:off x="214313" y="5786438"/>
            <a:ext cx="719137" cy="503237"/>
          </a:xfrm>
          <a:prstGeom prst="cube">
            <a:avLst>
              <a:gd name="adj" fmla="val 25000"/>
            </a:avLst>
          </a:prstGeom>
          <a:solidFill>
            <a:schemeClr val="accent4">
              <a:lumMod val="60000"/>
              <a:lumOff val="40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7" name="Содержимое 5"/>
          <p:cNvSpPr>
            <a:spLocks/>
          </p:cNvSpPr>
          <p:nvPr/>
        </p:nvSpPr>
        <p:spPr bwMode="auto">
          <a:xfrm>
            <a:off x="928662" y="5857875"/>
            <a:ext cx="3643313" cy="4286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Муниципальные программы</a:t>
            </a:r>
          </a:p>
        </p:txBody>
      </p:sp>
      <p:sp>
        <p:nvSpPr>
          <p:cNvPr id="46108" name="AutoShape 30"/>
          <p:cNvSpPr>
            <a:spLocks noChangeArrowheads="1"/>
          </p:cNvSpPr>
          <p:nvPr/>
        </p:nvSpPr>
        <p:spPr bwMode="auto">
          <a:xfrm>
            <a:off x="4572000" y="5786438"/>
            <a:ext cx="720725" cy="476250"/>
          </a:xfrm>
          <a:prstGeom prst="cube">
            <a:avLst>
              <a:gd name="adj" fmla="val 25000"/>
            </a:avLst>
          </a:prstGeom>
          <a:solidFill>
            <a:srgbClr val="FFC000"/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46109" name="AutoShape 31"/>
          <p:cNvSpPr>
            <a:spLocks/>
          </p:cNvSpPr>
          <p:nvPr/>
        </p:nvSpPr>
        <p:spPr bwMode="auto">
          <a:xfrm>
            <a:off x="3784596" y="2270131"/>
            <a:ext cx="144462" cy="2016125"/>
          </a:xfrm>
          <a:prstGeom prst="leftBrace">
            <a:avLst>
              <a:gd name="adj1" fmla="val 116301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0" name="AutoShape 32"/>
          <p:cNvSpPr>
            <a:spLocks/>
          </p:cNvSpPr>
          <p:nvPr/>
        </p:nvSpPr>
        <p:spPr bwMode="auto">
          <a:xfrm>
            <a:off x="6227763" y="4365625"/>
            <a:ext cx="144462" cy="647700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>
            <a:spAutoFit/>
          </a:bodyPr>
          <a:lstStyle/>
          <a:p>
            <a:endParaRPr lang="ru-RU"/>
          </a:p>
        </p:txBody>
      </p:sp>
      <p:sp>
        <p:nvSpPr>
          <p:cNvPr id="46111" name="Содержимое 5"/>
          <p:cNvSpPr>
            <a:spLocks/>
          </p:cNvSpPr>
          <p:nvPr/>
        </p:nvSpPr>
        <p:spPr bwMode="auto">
          <a:xfrm>
            <a:off x="5286375" y="5805489"/>
            <a:ext cx="3857625" cy="4810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>
                <a:cs typeface="Times New Roman" pitchFamily="18" charset="0"/>
              </a:rPr>
              <a:t>Непрограммные направления</a:t>
            </a:r>
          </a:p>
        </p:txBody>
      </p:sp>
      <p:sp>
        <p:nvSpPr>
          <p:cNvPr id="31" name="AutoShape 10"/>
          <p:cNvSpPr>
            <a:spLocks noChangeArrowheads="1"/>
          </p:cNvSpPr>
          <p:nvPr/>
        </p:nvSpPr>
        <p:spPr bwMode="auto">
          <a:xfrm>
            <a:off x="4000496" y="5357826"/>
            <a:ext cx="1439863" cy="285752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14,8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2" name="Text Box 19"/>
          <p:cNvSpPr txBox="1">
            <a:spLocks noChangeArrowheads="1"/>
          </p:cNvSpPr>
          <p:nvPr/>
        </p:nvSpPr>
        <p:spPr bwMode="auto">
          <a:xfrm>
            <a:off x="328611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0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3" name="AutoShape 10"/>
          <p:cNvSpPr>
            <a:spLocks noChangeArrowheads="1"/>
          </p:cNvSpPr>
          <p:nvPr/>
        </p:nvSpPr>
        <p:spPr bwMode="auto">
          <a:xfrm>
            <a:off x="6500826" y="5286388"/>
            <a:ext cx="1439863" cy="357190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r>
              <a:rPr lang="ru-RU" sz="1800" b="1" dirty="0" smtClean="0">
                <a:latin typeface="Arial" pitchFamily="34" charset="0"/>
              </a:rPr>
              <a:t>29,5</a:t>
            </a:r>
            <a:endParaRPr lang="ru-RU" sz="1800" b="1" dirty="0">
              <a:latin typeface="Arial" pitchFamily="34" charset="0"/>
            </a:endParaRPr>
          </a:p>
        </p:txBody>
      </p:sp>
      <p:sp>
        <p:nvSpPr>
          <p:cNvPr id="34" name="AutoShape 26"/>
          <p:cNvSpPr>
            <a:spLocks/>
          </p:cNvSpPr>
          <p:nvPr/>
        </p:nvSpPr>
        <p:spPr bwMode="auto">
          <a:xfrm>
            <a:off x="378618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5" name="AutoShape 26"/>
          <p:cNvSpPr>
            <a:spLocks/>
          </p:cNvSpPr>
          <p:nvPr/>
        </p:nvSpPr>
        <p:spPr bwMode="auto">
          <a:xfrm>
            <a:off x="6286512" y="5299428"/>
            <a:ext cx="71438" cy="415588"/>
          </a:xfrm>
          <a:prstGeom prst="leftBrace">
            <a:avLst>
              <a:gd name="adj1" fmla="val 37363"/>
              <a:gd name="adj2" fmla="val 50000"/>
            </a:avLst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wrap="square" anchor="ctr">
            <a:spAutoFit/>
          </a:bodyPr>
          <a:lstStyle/>
          <a:p>
            <a:endParaRPr lang="ru-RU"/>
          </a:p>
        </p:txBody>
      </p:sp>
      <p:sp>
        <p:nvSpPr>
          <p:cNvPr id="36" name="Text Box 19"/>
          <p:cNvSpPr txBox="1">
            <a:spLocks noChangeArrowheads="1"/>
          </p:cNvSpPr>
          <p:nvPr/>
        </p:nvSpPr>
        <p:spPr bwMode="auto">
          <a:xfrm>
            <a:off x="5786446" y="5214950"/>
            <a:ext cx="430887" cy="57150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eaVert" wrap="square">
            <a:spAutoFit/>
          </a:bodyPr>
          <a:lstStyle/>
          <a:p>
            <a:pPr eaLnBrk="1" hangingPunct="1"/>
            <a:r>
              <a:rPr lang="ru-RU" sz="1600" b="1" dirty="0" smtClean="0">
                <a:latin typeface="Arial" pitchFamily="34" charset="0"/>
              </a:rPr>
              <a:t>1,9%</a:t>
            </a:r>
            <a:endParaRPr lang="ru-RU" sz="1600" b="1" dirty="0">
              <a:latin typeface="Arial" pitchFamily="34" charset="0"/>
            </a:endParaRPr>
          </a:p>
        </p:txBody>
      </p:sp>
      <p:sp>
        <p:nvSpPr>
          <p:cNvPr id="37" name="AutoShape 28"/>
          <p:cNvSpPr>
            <a:spLocks noChangeArrowheads="1"/>
          </p:cNvSpPr>
          <p:nvPr/>
        </p:nvSpPr>
        <p:spPr bwMode="auto">
          <a:xfrm>
            <a:off x="214313" y="6357964"/>
            <a:ext cx="719137" cy="357184"/>
          </a:xfrm>
          <a:prstGeom prst="cube">
            <a:avLst>
              <a:gd name="adj" fmla="val 25000"/>
            </a:avLst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 eaLnBrk="1" hangingPunct="1"/>
            <a:endParaRPr lang="ru-RU" b="1">
              <a:latin typeface="Arial" pitchFamily="34" charset="0"/>
            </a:endParaRPr>
          </a:p>
        </p:txBody>
      </p:sp>
      <p:sp>
        <p:nvSpPr>
          <p:cNvPr id="38" name="Содержимое 5"/>
          <p:cNvSpPr>
            <a:spLocks/>
          </p:cNvSpPr>
          <p:nvPr/>
        </p:nvSpPr>
        <p:spPr bwMode="auto">
          <a:xfrm>
            <a:off x="928662" y="6357964"/>
            <a:ext cx="4000503" cy="35718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>
              <a:spcBef>
                <a:spcPct val="20000"/>
              </a:spcBef>
              <a:buFont typeface="Arial" pitchFamily="34" charset="0"/>
              <a:buNone/>
            </a:pPr>
            <a:r>
              <a:rPr lang="ru-RU" b="1" dirty="0" smtClean="0">
                <a:cs typeface="Times New Roman" pitchFamily="18" charset="0"/>
              </a:rPr>
              <a:t>Условно утвержденные расходы</a:t>
            </a:r>
            <a:endParaRPr lang="ru-RU" b="1" dirty="0">
              <a:cs typeface="Times New Roman" pitchFamily="18" charset="0"/>
            </a:endParaRPr>
          </a:p>
        </p:txBody>
      </p:sp>
      <p:sp>
        <p:nvSpPr>
          <p:cNvPr id="39" name="AutoShape 2"/>
          <p:cNvSpPr>
            <a:spLocks noChangeArrowheads="1"/>
          </p:cNvSpPr>
          <p:nvPr/>
        </p:nvSpPr>
        <p:spPr bwMode="auto">
          <a:xfrm>
            <a:off x="1214414" y="142852"/>
            <a:ext cx="7648570" cy="128588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бюджета города-курорта Железноводска в разрезе муниципальных программ и непрограммных  направлений деятельности на 2021 год и плановый период 2022 и 2023 год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4" name="Object 5"/>
          <p:cNvGraphicFramePr>
            <a:graphicFrameLocks noChangeAspect="1"/>
          </p:cNvGraphicFramePr>
          <p:nvPr/>
        </p:nvGraphicFramePr>
        <p:xfrm>
          <a:off x="0" y="1212850"/>
          <a:ext cx="9293225" cy="4492625"/>
        </p:xfrm>
        <a:graphic>
          <a:graphicData uri="http://schemas.openxmlformats.org/presentationml/2006/ole">
            <p:oleObj spid="_x0000_s333826" name="Worksheet" r:id="rId4" imgW="8848745" imgH="5410260" progId="Excel.Sheet.8">
              <p:embed/>
            </p:oleObj>
          </a:graphicData>
        </a:graphic>
      </p:graphicFrame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1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149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graphicFrame>
        <p:nvGraphicFramePr>
          <p:cNvPr id="6146" name="Object 5"/>
          <p:cNvGraphicFramePr>
            <a:graphicFrameLocks noChangeAspect="1"/>
          </p:cNvGraphicFramePr>
          <p:nvPr/>
        </p:nvGraphicFramePr>
        <p:xfrm>
          <a:off x="0" y="1206500"/>
          <a:ext cx="8534400" cy="4926013"/>
        </p:xfrm>
        <a:graphic>
          <a:graphicData uri="http://schemas.openxmlformats.org/presentationml/2006/ole">
            <p:oleObj spid="_x0000_s6146" name="Worksheet" r:id="rId4" imgW="8839290" imgH="5210190" progId="Excel.Sheet.8">
              <p:embed/>
            </p:oleObj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2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0" y="188913"/>
            <a:ext cx="9144000" cy="719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900" b="1">
              <a:solidFill>
                <a:srgbClr val="CC3300"/>
              </a:solidFill>
            </a:endParaRPr>
          </a:p>
        </p:txBody>
      </p:sp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571604" y="142852"/>
            <a:ext cx="7077066" cy="121444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сходы бюджета города-курорта Железноводска                   </a:t>
            </a:r>
          </a:p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Ставропольского края в разрезе разделов на </a:t>
            </a:r>
            <a:r>
              <a:rPr lang="ru-RU" b="1" dirty="0" smtClean="0">
                <a:solidFill>
                  <a:schemeClr val="bg1"/>
                </a:solidFill>
              </a:rPr>
              <a:t>2023 год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73059" name="Object 5"/>
          <p:cNvGraphicFramePr>
            <a:graphicFrameLocks noChangeAspect="1"/>
          </p:cNvGraphicFramePr>
          <p:nvPr/>
        </p:nvGraphicFramePr>
        <p:xfrm>
          <a:off x="0" y="1285875"/>
          <a:ext cx="9056688" cy="4941888"/>
        </p:xfrm>
        <a:graphic>
          <a:graphicData uri="http://schemas.openxmlformats.org/presentationml/2006/ole">
            <p:oleObj spid="_x0000_s173059" name="Worksheet" r:id="rId4" imgW="7210388" imgH="393390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7107" name="Rectangle 2"/>
          <p:cNvSpPr>
            <a:spLocks noChangeArrowheads="1"/>
          </p:cNvSpPr>
          <p:nvPr/>
        </p:nvSpPr>
        <p:spPr bwMode="auto">
          <a:xfrm>
            <a:off x="285750" y="1071563"/>
            <a:ext cx="8572530" cy="15716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В городе-курорте Железноводске Ставропольского края осуществляют свою деятельность </a:t>
            </a:r>
            <a:r>
              <a:rPr lang="ru-RU" sz="1400" dirty="0" smtClean="0"/>
              <a:t>29 </a:t>
            </a:r>
            <a:r>
              <a:rPr lang="ru-RU" sz="1400" dirty="0"/>
              <a:t>муниципальных образовательных учреждений, в том числе: </a:t>
            </a:r>
            <a:r>
              <a:rPr lang="ru-RU" sz="1400" dirty="0" smtClean="0"/>
              <a:t>15 </a:t>
            </a:r>
            <a:r>
              <a:rPr lang="ru-RU" sz="1400" dirty="0"/>
              <a:t>дошкольных образовательных учреждений, 5 учреждений дополнительного образования детей, 9 общеобразовательных учреждений.</a:t>
            </a:r>
          </a:p>
        </p:txBody>
      </p:sp>
      <p:sp>
        <p:nvSpPr>
          <p:cNvPr id="47108" name="Rectangle 2"/>
          <p:cNvSpPr>
            <a:spLocks noChangeArrowheads="1"/>
          </p:cNvSpPr>
          <p:nvPr/>
        </p:nvSpPr>
        <p:spPr bwMode="auto">
          <a:xfrm>
            <a:off x="0" y="285750"/>
            <a:ext cx="9144000" cy="719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2800" b="1">
              <a:solidFill>
                <a:srgbClr val="7030A0"/>
              </a:solidFill>
            </a:endParaRPr>
          </a:p>
        </p:txBody>
      </p:sp>
      <p:graphicFrame>
        <p:nvGraphicFramePr>
          <p:cNvPr id="11" name="Таблица 10"/>
          <p:cNvGraphicFramePr>
            <a:graphicFrameLocks noGrp="1"/>
          </p:cNvGraphicFramePr>
          <p:nvPr/>
        </p:nvGraphicFramePr>
        <p:xfrm>
          <a:off x="428596" y="3500438"/>
          <a:ext cx="8143875" cy="3282606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642942"/>
                <a:gridCol w="2214558"/>
                <a:gridCol w="1143000"/>
                <a:gridCol w="1152525"/>
                <a:gridCol w="990600"/>
                <a:gridCol w="1000125"/>
                <a:gridCol w="1000125"/>
              </a:tblGrid>
              <a:tr h="500066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0797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9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0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23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66681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раз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80,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43,0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04,3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00,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64,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01677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школьно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91,9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19,9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2,3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0,61</a:t>
                      </a: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1,2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е образование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20,3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1,7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88,55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 585,7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54,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3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ополнительное образование детей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2,5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70,0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5,7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7,17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2,40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29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7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олодежная политика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,7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0,85</a:t>
                      </a: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,30</a:t>
                      </a: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 4,26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 4,23</a:t>
                      </a:r>
                    </a:p>
                  </a:txBody>
                  <a:tcPr marL="68580" marR="68580" marT="0" marB="0" horzOverflow="overflow"/>
                </a:tc>
              </a:tr>
              <a:tr h="50482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7 09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Другие вопросы в области образования</a:t>
                      </a:r>
                      <a:endParaRPr kumimoji="0" lang="ru-RU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,4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0,41</a:t>
                      </a:r>
                    </a:p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3 ,32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2,85</a:t>
                      </a: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2,6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</a:tbl>
          </a:graphicData>
        </a:graphic>
      </p:graphicFrame>
      <p:sp>
        <p:nvSpPr>
          <p:cNvPr id="47174" name="Rectangle 1"/>
          <p:cNvSpPr>
            <a:spLocks noChangeArrowheads="1"/>
          </p:cNvSpPr>
          <p:nvPr/>
        </p:nvSpPr>
        <p:spPr bwMode="auto">
          <a:xfrm>
            <a:off x="1500166" y="2714620"/>
            <a:ext cx="6069012" cy="33813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образованию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19-2023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71604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49154" name="AutoShape 2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6" name="AutoShape 4" descr="ÐÐ¾ÑÐ¾Ð¶ÐµÐµ Ð¸Ð·Ð¾Ð±ÑÐ°Ð¶ÐµÐ½Ð¸Ðµ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8" name="AutoShape 6" descr="ÐÐ»Ð»ÑÑÑÑÐ°ÑÐ¸Ñ Ð´ÐµÑÐµÐ¹, ÑÐ¸Ð´Ñ Ð½Ð° ÑÐºÐ°Ð¼ÐµÐ¹ÐºÐµ Ð²Ð¾ Ð²ÑÐµÐ¼Ñ ÑÑÐµÐ½Ð¸Ñ Ð¤Ð¾ÑÐ¾ ÑÐ¾ ÑÑÐ¾ÐºÐ° - 19109852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60" name="AutoShape 8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8194" name="Object 12"/>
          <p:cNvGraphicFramePr>
            <a:graphicFrameLocks noGrp="1" noChangeAspect="1"/>
          </p:cNvGraphicFramePr>
          <p:nvPr/>
        </p:nvGraphicFramePr>
        <p:xfrm>
          <a:off x="706438" y="3292475"/>
          <a:ext cx="6584950" cy="3059113"/>
        </p:xfrm>
        <a:graphic>
          <a:graphicData uri="http://schemas.openxmlformats.org/presentationml/2006/ole">
            <p:oleObj spid="_x0000_s8194" name="Worksheet" r:id="rId4" imgW="7334379" imgH="3343410" progId="Excel.Sheet.8">
              <p:embed/>
            </p:oleObj>
          </a:graphicData>
        </a:graphic>
      </p:graphicFrame>
      <p:sp>
        <p:nvSpPr>
          <p:cNvPr id="8196" name="Text Box 7"/>
          <p:cNvSpPr txBox="1">
            <a:spLocks noChangeArrowheads="1"/>
          </p:cNvSpPr>
          <p:nvPr/>
        </p:nvSpPr>
        <p:spPr bwMode="auto">
          <a:xfrm>
            <a:off x="6500826" y="3255963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8197" name="Rectangle 2"/>
          <p:cNvSpPr>
            <a:spLocks noChangeArrowheads="1"/>
          </p:cNvSpPr>
          <p:nvPr/>
        </p:nvSpPr>
        <p:spPr bwMode="auto">
          <a:xfrm>
            <a:off x="357158" y="857232"/>
            <a:ext cx="8501122" cy="1500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endParaRPr lang="ru-RU" sz="1600" dirty="0" smtClean="0"/>
          </a:p>
          <a:p>
            <a:pPr indent="449263" algn="just"/>
            <a:endParaRPr lang="ru-RU" sz="1600" dirty="0" smtClean="0"/>
          </a:p>
          <a:p>
            <a:pPr indent="449263" algn="just"/>
            <a:endParaRPr lang="ru-RU" sz="1600" dirty="0" smtClean="0"/>
          </a:p>
          <a:p>
            <a:pPr indent="449263" algn="just"/>
            <a:endParaRPr lang="ru-RU" sz="1600" dirty="0" smtClean="0"/>
          </a:p>
          <a:p>
            <a:pPr indent="449263" algn="just"/>
            <a:endParaRPr lang="ru-RU" sz="1600" dirty="0" smtClean="0"/>
          </a:p>
          <a:p>
            <a:pPr indent="449263" algn="just"/>
            <a:r>
              <a:rPr lang="ru-RU" sz="1600" dirty="0" smtClean="0"/>
              <a:t>Увеличение расходов по отрасли </a:t>
            </a:r>
            <a:r>
              <a:rPr lang="ru-RU" sz="1600" dirty="0"/>
              <a:t>в </a:t>
            </a:r>
            <a:r>
              <a:rPr lang="ru-RU" sz="1600" dirty="0" smtClean="0"/>
              <a:t>2020 и в 2021 годах </a:t>
            </a:r>
            <a:r>
              <a:rPr lang="ru-RU" sz="1600" dirty="0"/>
              <a:t>связано с </a:t>
            </a:r>
            <a:r>
              <a:rPr lang="ru-RU" sz="1600" dirty="0" smtClean="0"/>
              <a:t> капитальными вложениями в с</a:t>
            </a:r>
            <a:r>
              <a:rPr lang="ru-RU" sz="1600" dirty="0" smtClean="0">
                <a:latin typeface="Times New Roman"/>
              </a:rPr>
              <a:t>троительство детского сада-ясли на 150 мест в жилом районе Капельница по ул.Виноградной, 3 города Железноводска, а также </a:t>
            </a:r>
            <a:r>
              <a:rPr lang="ru-RU" sz="1600" dirty="0" smtClean="0"/>
              <a:t>выделение дополнительных средств: на реализацию Указов Президента Российской Федерации, направленных на повышение оплаты труда педагогическим работникам образовательных организаций в целях достижения показателей средней заработной платы, установленных «дорожной картой» в соответствии с распоряжением Правительства Ставропольского края от 01 марта 2013 года № 52-рп; повышение минимального размера оплаты труда; на повышение оплаты труда категорий работников бюджетной сферы, которые не попадают под действие указов Президента Российской Федерации; на строительство новой муниципальной общеобразовательной школы в жилом районе Капельница.</a:t>
            </a:r>
          </a:p>
          <a:p>
            <a:pPr indent="449263" algn="just"/>
            <a:endParaRPr lang="ru-RU" sz="1600" dirty="0"/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2000232" y="142852"/>
            <a:ext cx="6357982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Образование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2" name="AutoShape 4" descr="Ãcole Ã©lÃ©mentaire des enfants de l'Ã©ducation et l'Ã©cole de formation de concept vecteur personnes Ãcole Ã©lÃ©mentaire des enfants de lÃ©ducation et lÃ©cole de formation de concept vecteur personnes â cliparts vectoriels et plus d'images de enfant libre de droit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pic>
        <p:nvPicPr>
          <p:cNvPr id="21" name="Picture 19" descr="http://www.shatsk-sch1-bibl.volyn.sch.in.ua/files2/images/anmashki/%D0%B7%20%D0%B3%D1%80%D0%B0%D1%84%D1%96%D0%BA%D0%BE%D0%BC.gif?size=11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3717032"/>
            <a:ext cx="2667000" cy="177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1000125" y="857232"/>
            <a:ext cx="7715250" cy="533400"/>
          </a:xfrm>
          <a:prstGeom prst="roundRect">
            <a:avLst/>
          </a:prstGeom>
          <a:solidFill>
            <a:schemeClr val="tx2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</a:t>
            </a:r>
            <a:r>
              <a:rPr lang="ru-RU" sz="14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форма образования и расходования денежных средств, предназначенных для финансового обеспечения задач и функций государства и местного самоуправл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428596" y="5286388"/>
            <a:ext cx="3000375" cy="1000108"/>
          </a:xfrm>
          <a:prstGeom prst="round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Дефицит бюджета </a:t>
            </a:r>
            <a:r>
              <a:rPr lang="ru-RU" sz="1600" b="1" dirty="0">
                <a:solidFill>
                  <a:schemeClr val="tx1"/>
                </a:solidFill>
              </a:rPr>
              <a:t>– превышение расходов бюджета над его до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786438" y="5214950"/>
            <a:ext cx="3000375" cy="1071570"/>
          </a:xfrm>
          <a:prstGeom prst="roundRect">
            <a:avLst/>
          </a:prstGeom>
          <a:solidFill>
            <a:srgbClr val="FFCCFF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</a:rPr>
              <a:t>Профицит бюджета</a:t>
            </a:r>
            <a:r>
              <a:rPr lang="ru-RU" sz="1600" b="1" dirty="0">
                <a:solidFill>
                  <a:schemeClr val="tx1"/>
                </a:solidFill>
              </a:rPr>
              <a:t> – превышение доходов бюджета над его расходами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9710" name="Прямоугольник 27"/>
          <p:cNvSpPr>
            <a:spLocks noChangeArrowheads="1"/>
          </p:cNvSpPr>
          <p:nvPr/>
        </p:nvSpPr>
        <p:spPr bwMode="auto">
          <a:xfrm>
            <a:off x="4714876" y="4786322"/>
            <a:ext cx="714375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87313" lvl="1">
              <a:tabLst>
                <a:tab pos="6719888" algn="l"/>
                <a:tab pos="6908800" algn="l"/>
              </a:tabLst>
            </a:pPr>
            <a:endParaRPr lang="ru-RU" sz="7200" b="1" dirty="0"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642939" y="1714500"/>
            <a:ext cx="2000235" cy="1643062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поступающие в бюджет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2143125" y="3786191"/>
            <a:ext cx="4929188" cy="428628"/>
          </a:xfrm>
          <a:prstGeom prst="round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ctr">
              <a:tabLst>
                <a:tab pos="6719888" algn="l"/>
                <a:tab pos="6908800" algn="l"/>
              </a:tabLst>
              <a:defRPr/>
            </a:pPr>
            <a:r>
              <a:rPr lang="ru-RU" sz="18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зультат исполнения бюджета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6643702" y="1714500"/>
            <a:ext cx="2143140" cy="1571624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600" b="1" u="sng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ходы бюджета</a:t>
            </a:r>
            <a:r>
              <a:rPr lang="ru-RU" sz="1600" b="1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– выплачиваемые из бюджета денежные средства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5" name="Стрелка вправо 14"/>
          <p:cNvSpPr/>
          <p:nvPr/>
        </p:nvSpPr>
        <p:spPr>
          <a:xfrm>
            <a:off x="2714612" y="2357430"/>
            <a:ext cx="928694" cy="4286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право 16"/>
          <p:cNvSpPr/>
          <p:nvPr/>
        </p:nvSpPr>
        <p:spPr>
          <a:xfrm>
            <a:off x="5715008" y="2357430"/>
            <a:ext cx="928694" cy="42862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20" name="Прямоугольник 19"/>
          <p:cNvSpPr/>
          <p:nvPr/>
        </p:nvSpPr>
        <p:spPr>
          <a:xfrm rot="20959600">
            <a:off x="3974385" y="2789776"/>
            <a:ext cx="1643074" cy="64294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бюджет</a:t>
            </a:r>
            <a:endParaRPr lang="ru-RU" b="1" dirty="0"/>
          </a:p>
        </p:txBody>
      </p:sp>
      <p:pic>
        <p:nvPicPr>
          <p:cNvPr id="229382" name="Picture 6" descr="https://ds05.infourok.ru/uploads/ex/07b2/000f49f1-36e420dd/img4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643306" y="1643050"/>
            <a:ext cx="2071702" cy="1928826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220" name="Text Box 7"/>
          <p:cNvSpPr txBox="1">
            <a:spLocks noChangeArrowheads="1"/>
          </p:cNvSpPr>
          <p:nvPr/>
        </p:nvSpPr>
        <p:spPr bwMode="auto">
          <a:xfrm>
            <a:off x="6715140" y="2071678"/>
            <a:ext cx="1293813" cy="276999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 smtClean="0"/>
              <a:t>тыс. </a:t>
            </a:r>
            <a:r>
              <a:rPr lang="ru-RU" sz="1800" b="1" i="1" dirty="0"/>
              <a:t>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85728"/>
            <a:ext cx="692948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Образование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9218" name="Object 3"/>
          <p:cNvGraphicFramePr>
            <a:graphicFrameLocks noGrp="1" noChangeAspect="1"/>
          </p:cNvGraphicFramePr>
          <p:nvPr/>
        </p:nvGraphicFramePr>
        <p:xfrm>
          <a:off x="536575" y="2571750"/>
          <a:ext cx="7875588" cy="2305050"/>
        </p:xfrm>
        <a:graphic>
          <a:graphicData uri="http://schemas.openxmlformats.org/presentationml/2006/ole">
            <p:oleObj spid="_x0000_s9218" name="Worksheet" r:id="rId4" imgW="8315232" imgH="242892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8131" name="Rectangle 2"/>
          <p:cNvSpPr>
            <a:spLocks noChangeArrowheads="1"/>
          </p:cNvSpPr>
          <p:nvPr/>
        </p:nvSpPr>
        <p:spPr bwMode="auto">
          <a:xfrm>
            <a:off x="611560" y="836712"/>
            <a:ext cx="8215370" cy="7732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600" dirty="0"/>
              <a:t>В городе-курорте Железноводске Ставропольского края действует </a:t>
            </a:r>
            <a:r>
              <a:rPr lang="ru-RU" sz="1600" dirty="0" smtClean="0"/>
              <a:t>15 </a:t>
            </a:r>
            <a:r>
              <a:rPr lang="ru-RU" sz="1600" dirty="0"/>
              <a:t>дошкольных образовательных учреждений - детских садов, в которых обучается 2 </a:t>
            </a:r>
            <a:r>
              <a:rPr lang="ru-RU" sz="1600" dirty="0" smtClean="0"/>
              <a:t>696 </a:t>
            </a:r>
            <a:r>
              <a:rPr lang="ru-RU" sz="1600" dirty="0"/>
              <a:t>детей.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/>
        </p:nvGraphicFramePr>
        <p:xfrm>
          <a:off x="395536" y="2420888"/>
          <a:ext cx="8286750" cy="388843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1809750"/>
                <a:gridCol w="879475"/>
                <a:gridCol w="954113"/>
                <a:gridCol w="928694"/>
                <a:gridCol w="1214406"/>
                <a:gridCol w="1274762"/>
                <a:gridCol w="1225550"/>
              </a:tblGrid>
              <a:tr h="11902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щихся учреждений общего и дополнительного образования в городе-курорте Железноводске Ставропольского кра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268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300" b="0" i="0" u="none" strike="noStrike" cap="none" normalizeH="0" baseline="0" smtClean="0">
                        <a:ln>
                          <a:noFill/>
                        </a:ln>
                        <a:solidFill>
                          <a:srgbClr val="212121"/>
                        </a:solidFill>
                        <a:effectLst/>
                        <a:latin typeface="RobotoLight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/2019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/2020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/2021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8/2019 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/202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/2021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ебный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59512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еобразователь-ные школы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 978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 117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 262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8926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чреждения дополнительного образования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245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283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 104 чел.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31771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3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</a:t>
                      </a:r>
                      <a:endParaRPr kumimoji="0" lang="ru-RU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</a:t>
                      </a: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23 </a:t>
                      </a: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</a:t>
                      </a: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0 </a:t>
                      </a: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rtl="0" fontAlgn="t"/>
                      <a:r>
                        <a:rPr kumimoji="0" lang="ru-RU" sz="1300" b="1" u="none" strike="noStrike" kern="1200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</a:t>
                      </a:r>
                      <a:r>
                        <a:rPr kumimoji="0" lang="ru-RU" sz="13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66 </a:t>
                      </a:r>
                      <a:r>
                        <a:rPr kumimoji="0" lang="ru-RU" sz="1100" b="1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.</a:t>
                      </a:r>
                      <a:endParaRPr kumimoji="0" lang="ru-RU" sz="1100" b="1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857356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Дошкольное образование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683568" y="1700808"/>
            <a:ext cx="7560840" cy="43204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</a:rPr>
              <a:t>Общее и дополнительное образование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9155" name="Rectangle 2"/>
          <p:cNvSpPr>
            <a:spLocks noChangeArrowheads="1"/>
          </p:cNvSpPr>
          <p:nvPr/>
        </p:nvSpPr>
        <p:spPr bwMode="auto">
          <a:xfrm>
            <a:off x="285750" y="1428750"/>
            <a:ext cx="8572500" cy="714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/>
              <a:t>Сеть отрасли культуры и кинематографии в городе-курорте Железноводске Ставропольского края составляют 3 муниципальных учреждения, в том числе: </a:t>
            </a:r>
            <a:r>
              <a:rPr lang="ru-RU" sz="1400" dirty="0" smtClean="0"/>
              <a:t>библиотечная централизованная </a:t>
            </a:r>
            <a:r>
              <a:rPr lang="ru-RU" sz="1400" dirty="0" err="1" smtClean="0"/>
              <a:t>сиситема</a:t>
            </a:r>
            <a:r>
              <a:rPr lang="ru-RU" sz="1400" dirty="0" smtClean="0"/>
              <a:t>, </a:t>
            </a:r>
            <a:r>
              <a:rPr lang="ru-RU" sz="1400" dirty="0"/>
              <a:t>Пушкинская галерея, Городской Дворец культуры. </a:t>
            </a:r>
          </a:p>
        </p:txBody>
      </p:sp>
      <p:graphicFrame>
        <p:nvGraphicFramePr>
          <p:cNvPr id="13" name="Таблица 12"/>
          <p:cNvGraphicFramePr>
            <a:graphicFrameLocks noGrp="1"/>
          </p:cNvGraphicFramePr>
          <p:nvPr/>
        </p:nvGraphicFramePr>
        <p:xfrm>
          <a:off x="500034" y="3357562"/>
          <a:ext cx="8143875" cy="2867343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858838"/>
                <a:gridCol w="1998662"/>
                <a:gridCol w="1143000"/>
                <a:gridCol w="1152525"/>
                <a:gridCol w="990600"/>
                <a:gridCol w="1000125"/>
                <a:gridCol w="1000125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млн. рублей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8 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ультура, кинематограф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90,7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5,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9,8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5,4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5,0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8 01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ультур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4,0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9,8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4,4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0,2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0,0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8 04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ругие вопросы в области культуры, кинематографи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6,6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,2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,4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,1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,0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49157" name="Rectangle 1"/>
          <p:cNvSpPr>
            <a:spLocks noChangeArrowheads="1"/>
          </p:cNvSpPr>
          <p:nvPr/>
        </p:nvSpPr>
        <p:spPr bwMode="auto">
          <a:xfrm>
            <a:off x="1714480" y="2643182"/>
            <a:ext cx="5697538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культуре в </a:t>
            </a:r>
            <a:r>
              <a:rPr lang="ru-RU" sz="1600" b="1" dirty="0" smtClean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2019-2023 </a:t>
            </a:r>
            <a:r>
              <a:rPr lang="ru-RU" sz="1600" b="1" dirty="0">
                <a:solidFill>
                  <a:schemeClr val="tx2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428728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0245" name="Text Box 7"/>
          <p:cNvSpPr txBox="1">
            <a:spLocks noChangeArrowheads="1"/>
          </p:cNvSpPr>
          <p:nvPr/>
        </p:nvSpPr>
        <p:spPr bwMode="auto">
          <a:xfrm>
            <a:off x="7092280" y="3356992"/>
            <a:ext cx="1293813" cy="244475"/>
          </a:xfrm>
          <a:prstGeom prst="rect">
            <a:avLst/>
          </a:prstGeom>
          <a:solidFill>
            <a:schemeClr val="bg1">
              <a:alpha val="49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graphicFrame>
        <p:nvGraphicFramePr>
          <p:cNvPr id="10242" name="Object 12"/>
          <p:cNvGraphicFramePr>
            <a:graphicFrameLocks noGrp="1" noChangeAspect="1"/>
          </p:cNvGraphicFramePr>
          <p:nvPr/>
        </p:nvGraphicFramePr>
        <p:xfrm>
          <a:off x="-180528" y="2708920"/>
          <a:ext cx="10004314" cy="4395191"/>
        </p:xfrm>
        <a:graphic>
          <a:graphicData uri="http://schemas.openxmlformats.org/presentationml/2006/ole">
            <p:oleObj spid="_x0000_s10242" name="Worksheet" r:id="rId4" imgW="5743567" imgH="2524230" progId="Excel.Sheet.8">
              <p:embed/>
            </p:oleObj>
          </a:graphicData>
        </a:graphic>
      </p:graphicFrame>
      <p:sp>
        <p:nvSpPr>
          <p:cNvPr id="10246" name="Rectangle 2"/>
          <p:cNvSpPr>
            <a:spLocks noChangeArrowheads="1"/>
          </p:cNvSpPr>
          <p:nvPr/>
        </p:nvSpPr>
        <p:spPr bwMode="auto">
          <a:xfrm>
            <a:off x="357188" y="1142984"/>
            <a:ext cx="8572500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600" dirty="0" smtClean="0"/>
              <a:t>Увеличение объема расходов в 2021 связано с ростом в 2021 году расходов на заработную плату работников муниципальных учреждений культуры, подпадающих под действие майских указов Президента Российской Федерации, исходя из значения среднемесячного дохода от трудовой деятельности</a:t>
            </a:r>
          </a:p>
          <a:p>
            <a:pPr indent="449263" algn="just"/>
            <a:r>
              <a:rPr lang="ru-RU" sz="1600" dirty="0" smtClean="0"/>
              <a:t> В 2021 году  планируется создание виртуального концертного зала в МБУК «Пушкинская галерея», которое признано победителем конкурсного отбора субъектов Российской Федерации на предоставление иных межбюджетных трансфертов из федерального бюджета бюджетам субъектов Российской Федерации на создание виртуальных залов в городах Российской Федерации в 2021-2022 годах. На данные мероприятия выделено из краевого бюджета 2,5 млн.рублей. </a:t>
            </a:r>
            <a:endParaRPr lang="ru-RU" sz="1600" dirty="0"/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714480" y="214290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Культур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1268" name="Text Box 7"/>
          <p:cNvSpPr txBox="1">
            <a:spLocks noChangeArrowheads="1"/>
          </p:cNvSpPr>
          <p:nvPr/>
        </p:nvSpPr>
        <p:spPr bwMode="auto">
          <a:xfrm>
            <a:off x="7429520" y="1857364"/>
            <a:ext cx="1293813" cy="276999"/>
          </a:xfrm>
          <a:prstGeom prst="rect">
            <a:avLst/>
          </a:prstGeom>
          <a:solidFill>
            <a:schemeClr val="bg1">
              <a:alpha val="48000"/>
            </a:schemeClr>
          </a:solidFill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800" b="1" i="1" dirty="0" smtClean="0"/>
              <a:t>тыс.рублей</a:t>
            </a:r>
            <a:endParaRPr lang="ru-RU" sz="1800" b="1" i="1" dirty="0"/>
          </a:p>
        </p:txBody>
      </p:sp>
      <p:graphicFrame>
        <p:nvGraphicFramePr>
          <p:cNvPr id="11267" name="Object 3"/>
          <p:cNvGraphicFramePr>
            <a:graphicFrameLocks noGrp="1" noChangeAspect="1"/>
          </p:cNvGraphicFramePr>
          <p:nvPr/>
        </p:nvGraphicFramePr>
        <p:xfrm>
          <a:off x="325438" y="2927350"/>
          <a:ext cx="8150225" cy="1908175"/>
        </p:xfrm>
        <a:graphic>
          <a:graphicData uri="http://schemas.openxmlformats.org/presentationml/2006/ole">
            <p:oleObj spid="_x0000_s11267" name="Worksheet" r:id="rId4" imgW="8572399" imgH="2009880" progId="Excel.Sheet.8">
              <p:embed/>
            </p:oleObj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357290" y="285728"/>
            <a:ext cx="728667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07504" y="1857364"/>
          <a:ext cx="8856982" cy="3796508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934041"/>
                <a:gridCol w="2173672"/>
                <a:gridCol w="1243086"/>
                <a:gridCol w="1253444"/>
                <a:gridCol w="1077341"/>
                <a:gridCol w="1087699"/>
                <a:gridCol w="1087699"/>
              </a:tblGrid>
              <a:tr h="637304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, подраздел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ы финансового обеспечения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7429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</a:tr>
              <a:tr h="5760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00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циальная политик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92,1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445,9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79,4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72,11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375,2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101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03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циальное обеспечение населения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2,4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5,27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7,8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62,5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60,89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1016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0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храна семьи и детства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84,8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43,1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84,1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2,08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6,92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78852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 06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ругие вопросы в области социальной политики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4,8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,47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,44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,45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7,44</a:t>
                      </a:r>
                    </a:p>
                  </a:txBody>
                  <a:tcPr marL="68580" marR="68580" marT="0" marB="0" anchor="ctr" horzOverflow="overflow"/>
                </a:tc>
              </a:tr>
            </a:tbl>
          </a:graphicData>
        </a:graphic>
      </p:graphicFrame>
      <p:sp>
        <p:nvSpPr>
          <p:cNvPr id="50229" name="Rectangle 1"/>
          <p:cNvSpPr>
            <a:spLocks noChangeArrowheads="1"/>
          </p:cNvSpPr>
          <p:nvPr/>
        </p:nvSpPr>
        <p:spPr bwMode="auto">
          <a:xfrm>
            <a:off x="857224" y="1214422"/>
            <a:ext cx="7548563" cy="33813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города по социальной политике в </a:t>
            </a: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2019-2023 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годах</a:t>
            </a:r>
            <a:endParaRPr lang="ru-RU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714480" y="357166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12290" name="Object 12"/>
          <p:cNvGraphicFramePr>
            <a:graphicFrameLocks noGrp="1" noChangeAspect="1"/>
          </p:cNvGraphicFramePr>
          <p:nvPr/>
        </p:nvGraphicFramePr>
        <p:xfrm>
          <a:off x="755650" y="2998788"/>
          <a:ext cx="7016750" cy="4000500"/>
        </p:xfrm>
        <a:graphic>
          <a:graphicData uri="http://schemas.openxmlformats.org/presentationml/2006/ole">
            <p:oleObj spid="_x0000_s12290" name="Worksheet" r:id="rId4" imgW="7381923" imgH="4210110" progId="Excel.Sheet.8">
              <p:embed/>
            </p:oleObj>
          </a:graphicData>
        </a:graphic>
      </p:graphicFrame>
      <p:sp>
        <p:nvSpPr>
          <p:cNvPr id="12293" name="Text Box 7"/>
          <p:cNvSpPr txBox="1">
            <a:spLocks noChangeArrowheads="1"/>
          </p:cNvSpPr>
          <p:nvPr/>
        </p:nvSpPr>
        <p:spPr bwMode="auto">
          <a:xfrm>
            <a:off x="6948264" y="3140968"/>
            <a:ext cx="1293812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млн. рублей</a:t>
            </a:r>
          </a:p>
        </p:txBody>
      </p:sp>
      <p:sp>
        <p:nvSpPr>
          <p:cNvPr id="12295" name="Rectangle 2"/>
          <p:cNvSpPr>
            <a:spLocks noChangeArrowheads="1"/>
          </p:cNvSpPr>
          <p:nvPr/>
        </p:nvSpPr>
        <p:spPr bwMode="auto">
          <a:xfrm>
            <a:off x="323528" y="1196752"/>
            <a:ext cx="8568952" cy="13573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600" dirty="0"/>
              <a:t>Увеличение </a:t>
            </a:r>
            <a:r>
              <a:rPr lang="ru-RU" sz="1600" dirty="0" smtClean="0"/>
              <a:t>расходов на социальную политику </a:t>
            </a:r>
            <a:r>
              <a:rPr lang="ru-RU" sz="1600" dirty="0"/>
              <a:t>в </a:t>
            </a:r>
            <a:r>
              <a:rPr lang="ru-RU" sz="1600" dirty="0" smtClean="0"/>
              <a:t>2020-м году </a:t>
            </a:r>
            <a:r>
              <a:rPr lang="ru-RU" sz="1600" dirty="0"/>
              <a:t>обусловлено увеличением </a:t>
            </a:r>
            <a:r>
              <a:rPr lang="ru-RU" sz="1600" dirty="0" smtClean="0"/>
              <a:t>объема поступающих средств из федерального, краевого и местного бюджетов на </a:t>
            </a:r>
            <a:r>
              <a:rPr lang="ru-RU" sz="1600" dirty="0"/>
              <a:t>оплату жилого помещения и коммунальных услуг, на выплаты на случай временной нетрудоспособности и в связи с материнством</a:t>
            </a:r>
            <a:r>
              <a:rPr lang="ru-RU" sz="1600" dirty="0" smtClean="0"/>
              <a:t>, на выплаты в случае рождения третьего ребенка, </a:t>
            </a:r>
            <a:r>
              <a:rPr lang="ru-RU" sz="1600" dirty="0"/>
              <a:t>на компенсации многодетным семьям на ребенка до 18 </a:t>
            </a:r>
            <a:r>
              <a:rPr lang="ru-RU" sz="1600" dirty="0" smtClean="0"/>
              <a:t>лет, на выплаты в связи с рождением (усыновлением) первого ребенка, а так же на осуществление ежемесячных выплат на детей в возрасте от трех до семи лет включительно .</a:t>
            </a:r>
            <a:endParaRPr lang="ru-RU" sz="1600" dirty="0"/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571604" y="142852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>
                <a:solidFill>
                  <a:schemeClr val="bg1"/>
                </a:solidFill>
              </a:rPr>
              <a:t>Раздел «Социальная политика»</a:t>
            </a:r>
            <a:endParaRPr lang="ru-RU" sz="2400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3316" name="Text Box 7"/>
          <p:cNvSpPr txBox="1">
            <a:spLocks noChangeArrowheads="1"/>
          </p:cNvSpPr>
          <p:nvPr/>
        </p:nvSpPr>
        <p:spPr bwMode="auto">
          <a:xfrm>
            <a:off x="7072313" y="1714488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600" b="1" i="1" dirty="0"/>
              <a:t>тыс. </a:t>
            </a:r>
            <a:r>
              <a:rPr lang="ru-RU" sz="1800" b="1" i="1" dirty="0"/>
              <a:t>рублей</a:t>
            </a:r>
          </a:p>
        </p:txBody>
      </p:sp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500166" y="285728"/>
            <a:ext cx="692948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Социальную политик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2" name="Object 3"/>
          <p:cNvGraphicFramePr>
            <a:graphicFrameLocks noGrp="1" noChangeAspect="1"/>
          </p:cNvGraphicFramePr>
          <p:nvPr/>
        </p:nvGraphicFramePr>
        <p:xfrm>
          <a:off x="827088" y="2005013"/>
          <a:ext cx="7735887" cy="4519612"/>
        </p:xfrm>
        <a:graphic>
          <a:graphicData uri="http://schemas.openxmlformats.org/presentationml/2006/ole">
            <p:oleObj spid="_x0000_s13316" name="Worksheet" r:id="rId4" imgW="7353289" imgH="429570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8" name="Диаграмма 57"/>
          <p:cNvGraphicFramePr/>
          <p:nvPr>
            <p:extLst>
              <p:ext uri="{D42A27DB-BD31-4B8C-83A1-F6EECF244321}">
                <p14:modId xmlns:p14="http://schemas.microsoft.com/office/powerpoint/2010/main" xmlns="" val="342473632"/>
              </p:ext>
            </p:extLst>
          </p:nvPr>
        </p:nvGraphicFramePr>
        <p:xfrm>
          <a:off x="1428728" y="1285860"/>
          <a:ext cx="5951584" cy="51624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9" name="Овал 58"/>
          <p:cNvSpPr/>
          <p:nvPr/>
        </p:nvSpPr>
        <p:spPr>
          <a:xfrm>
            <a:off x="3929058" y="3500438"/>
            <a:ext cx="1152000" cy="1152000"/>
          </a:xfrm>
          <a:prstGeom prst="ellipse">
            <a:avLst/>
          </a:prstGeom>
          <a:solidFill>
            <a:schemeClr val="bg1">
              <a:lumMod val="85000"/>
            </a:schemeClr>
          </a:solidFill>
          <a:ln w="15875">
            <a:solidFill>
              <a:schemeClr val="tx1">
                <a:lumMod val="65000"/>
                <a:lumOff val="35000"/>
              </a:schemeClr>
            </a:solidFill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>
              <a:lnSpc>
                <a:spcPts val="1100"/>
              </a:lnSpc>
              <a:spcAft>
                <a:spcPts val="600"/>
              </a:spcAft>
            </a:pP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48,7</a:t>
            </a:r>
            <a:endParaRPr lang="ru-RU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60" name="Прямая соединительная линия 59"/>
          <p:cNvCxnSpPr/>
          <p:nvPr/>
        </p:nvCxnSpPr>
        <p:spPr>
          <a:xfrm rot="16200000" flipH="1">
            <a:off x="2500298" y="1928802"/>
            <a:ext cx="642942" cy="642942"/>
          </a:xfrm>
          <a:prstGeom prst="line">
            <a:avLst/>
          </a:prstGeom>
          <a:ln w="82550" cap="rnd">
            <a:solidFill>
              <a:srgbClr val="7DBD63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1" name="Группа 12"/>
          <p:cNvGrpSpPr/>
          <p:nvPr/>
        </p:nvGrpSpPr>
        <p:grpSpPr>
          <a:xfrm>
            <a:off x="285720" y="1500174"/>
            <a:ext cx="2214578" cy="2214578"/>
            <a:chOff x="103307" y="2564904"/>
            <a:chExt cx="2092429" cy="1512168"/>
          </a:xfrm>
        </p:grpSpPr>
        <p:sp>
          <p:nvSpPr>
            <p:cNvPr id="62" name="Скругленный прямоугольник 61"/>
            <p:cNvSpPr/>
            <p:nvPr/>
          </p:nvSpPr>
          <p:spPr>
            <a:xfrm>
              <a:off x="179512" y="2564904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7DBD6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63" name="Прямоугольник 62"/>
            <p:cNvSpPr/>
            <p:nvPr/>
          </p:nvSpPr>
          <p:spPr>
            <a:xfrm>
              <a:off x="103307" y="2857582"/>
              <a:ext cx="2081088" cy="5433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емей с детьми</a:t>
              </a:r>
            </a:p>
          </p:txBody>
        </p:sp>
        <p:sp>
          <p:nvSpPr>
            <p:cNvPr id="64" name="Скругленный прямоугольник 63"/>
            <p:cNvSpPr/>
            <p:nvPr/>
          </p:nvSpPr>
          <p:spPr>
            <a:xfrm>
              <a:off x="672540" y="3469184"/>
              <a:ext cx="1015144" cy="277101"/>
            </a:xfrm>
            <a:prstGeom prst="roundRect">
              <a:avLst>
                <a:gd name="adj" fmla="val 31566"/>
              </a:avLst>
            </a:prstGeom>
            <a:solidFill>
              <a:srgbClr val="57933F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67,5</a:t>
              </a:r>
              <a:endParaRPr lang="ru-RU" dirty="0"/>
            </a:p>
          </p:txBody>
        </p:sp>
      </p:grpSp>
      <p:grpSp>
        <p:nvGrpSpPr>
          <p:cNvPr id="65" name="Группа 25"/>
          <p:cNvGrpSpPr/>
          <p:nvPr/>
        </p:nvGrpSpPr>
        <p:grpSpPr>
          <a:xfrm>
            <a:off x="4857752" y="3071810"/>
            <a:ext cx="1294434" cy="1294434"/>
            <a:chOff x="4151784" y="3429000"/>
            <a:chExt cx="1440160" cy="1080120"/>
          </a:xfrm>
        </p:grpSpPr>
        <p:sp>
          <p:nvSpPr>
            <p:cNvPr id="66" name="Прямоугольник 65"/>
            <p:cNvSpPr/>
            <p:nvPr/>
          </p:nvSpPr>
          <p:spPr>
            <a:xfrm>
              <a:off x="4151784" y="4077072"/>
              <a:ext cx="1440160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1%</a:t>
              </a:r>
            </a:p>
          </p:txBody>
        </p:sp>
        <p:grpSp>
          <p:nvGrpSpPr>
            <p:cNvPr id="67" name="Группа 14"/>
            <p:cNvGrpSpPr/>
            <p:nvPr/>
          </p:nvGrpSpPr>
          <p:grpSpPr>
            <a:xfrm>
              <a:off x="4439816" y="3429000"/>
              <a:ext cx="1008112" cy="654437"/>
              <a:chOff x="-9094704" y="-3608569"/>
              <a:chExt cx="10696296" cy="9258301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68" name="Freeform 7"/>
              <p:cNvSpPr>
                <a:spLocks/>
              </p:cNvSpPr>
              <p:nvPr/>
            </p:nvSpPr>
            <p:spPr bwMode="auto">
              <a:xfrm>
                <a:off x="-9094704" y="-2116318"/>
                <a:ext cx="9608854" cy="7766050"/>
              </a:xfrm>
              <a:custGeom>
                <a:avLst/>
                <a:gdLst>
                  <a:gd name="T0" fmla="*/ 0 w 3578"/>
                  <a:gd name="T1" fmla="*/ 1919 h 2441"/>
                  <a:gd name="T2" fmla="*/ 2 w 3578"/>
                  <a:gd name="T3" fmla="*/ 1916 h 2441"/>
                  <a:gd name="T4" fmla="*/ 113 w 3578"/>
                  <a:gd name="T5" fmla="*/ 1792 h 2441"/>
                  <a:gd name="T6" fmla="*/ 335 w 3578"/>
                  <a:gd name="T7" fmla="*/ 1671 h 2441"/>
                  <a:gd name="T8" fmla="*/ 648 w 3578"/>
                  <a:gd name="T9" fmla="*/ 1113 h 2441"/>
                  <a:gd name="T10" fmla="*/ 651 w 3578"/>
                  <a:gd name="T11" fmla="*/ 973 h 2441"/>
                  <a:gd name="T12" fmla="*/ 690 w 3578"/>
                  <a:gd name="T13" fmla="*/ 819 h 2441"/>
                  <a:gd name="T14" fmla="*/ 1176 w 3578"/>
                  <a:gd name="T15" fmla="*/ 87 h 2441"/>
                  <a:gd name="T16" fmla="*/ 1399 w 3578"/>
                  <a:gd name="T17" fmla="*/ 18 h 2441"/>
                  <a:gd name="T18" fmla="*/ 1569 w 3578"/>
                  <a:gd name="T19" fmla="*/ 146 h 2441"/>
                  <a:gd name="T20" fmla="*/ 1589 w 3578"/>
                  <a:gd name="T21" fmla="*/ 163 h 2441"/>
                  <a:gd name="T22" fmla="*/ 2182 w 3578"/>
                  <a:gd name="T23" fmla="*/ 459 h 2441"/>
                  <a:gd name="T24" fmla="*/ 2253 w 3578"/>
                  <a:gd name="T25" fmla="*/ 540 h 2441"/>
                  <a:gd name="T26" fmla="*/ 2254 w 3578"/>
                  <a:gd name="T27" fmla="*/ 608 h 2441"/>
                  <a:gd name="T28" fmla="*/ 2275 w 3578"/>
                  <a:gd name="T29" fmla="*/ 618 h 2441"/>
                  <a:gd name="T30" fmla="*/ 2320 w 3578"/>
                  <a:gd name="T31" fmla="*/ 681 h 2441"/>
                  <a:gd name="T32" fmla="*/ 2341 w 3578"/>
                  <a:gd name="T33" fmla="*/ 996 h 2441"/>
                  <a:gd name="T34" fmla="*/ 2344 w 3578"/>
                  <a:gd name="T35" fmla="*/ 1015 h 2441"/>
                  <a:gd name="T36" fmla="*/ 2356 w 3578"/>
                  <a:gd name="T37" fmla="*/ 1015 h 2441"/>
                  <a:gd name="T38" fmla="*/ 2412 w 3578"/>
                  <a:gd name="T39" fmla="*/ 1049 h 2441"/>
                  <a:gd name="T40" fmla="*/ 2400 w 3578"/>
                  <a:gd name="T41" fmla="*/ 1113 h 2441"/>
                  <a:gd name="T42" fmla="*/ 2285 w 3578"/>
                  <a:gd name="T43" fmla="*/ 1266 h 2441"/>
                  <a:gd name="T44" fmla="*/ 2726 w 3578"/>
                  <a:gd name="T45" fmla="*/ 2255 h 2441"/>
                  <a:gd name="T46" fmla="*/ 3453 w 3578"/>
                  <a:gd name="T47" fmla="*/ 1962 h 2441"/>
                  <a:gd name="T48" fmla="*/ 3513 w 3578"/>
                  <a:gd name="T49" fmla="*/ 1929 h 2441"/>
                  <a:gd name="T50" fmla="*/ 3552 w 3578"/>
                  <a:gd name="T51" fmla="*/ 2018 h 2441"/>
                  <a:gd name="T52" fmla="*/ 3436 w 3578"/>
                  <a:gd name="T53" fmla="*/ 2161 h 2441"/>
                  <a:gd name="T54" fmla="*/ 2652 w 3578"/>
                  <a:gd name="T55" fmla="*/ 2352 h 2441"/>
                  <a:gd name="T56" fmla="*/ 2108 w 3578"/>
                  <a:gd name="T57" fmla="*/ 1768 h 2441"/>
                  <a:gd name="T58" fmla="*/ 2226 w 3578"/>
                  <a:gd name="T59" fmla="*/ 1146 h 2441"/>
                  <a:gd name="T60" fmla="*/ 2235 w 3578"/>
                  <a:gd name="T61" fmla="*/ 1115 h 2441"/>
                  <a:gd name="T62" fmla="*/ 2209 w 3578"/>
                  <a:gd name="T63" fmla="*/ 737 h 2441"/>
                  <a:gd name="T64" fmla="*/ 2203 w 3578"/>
                  <a:gd name="T65" fmla="*/ 713 h 2441"/>
                  <a:gd name="T66" fmla="*/ 2156 w 3578"/>
                  <a:gd name="T67" fmla="*/ 699 h 2441"/>
                  <a:gd name="T68" fmla="*/ 2053 w 3578"/>
                  <a:gd name="T69" fmla="*/ 683 h 2441"/>
                  <a:gd name="T70" fmla="*/ 1548 w 3578"/>
                  <a:gd name="T71" fmla="*/ 431 h 2441"/>
                  <a:gd name="T72" fmla="*/ 1526 w 3578"/>
                  <a:gd name="T73" fmla="*/ 420 h 2441"/>
                  <a:gd name="T74" fmla="*/ 1477 w 3578"/>
                  <a:gd name="T75" fmla="*/ 483 h 2441"/>
                  <a:gd name="T76" fmla="*/ 1148 w 3578"/>
                  <a:gd name="T77" fmla="*/ 993 h 2441"/>
                  <a:gd name="T78" fmla="*/ 1153 w 3578"/>
                  <a:gd name="T79" fmla="*/ 1021 h 2441"/>
                  <a:gd name="T80" fmla="*/ 1398 w 3578"/>
                  <a:gd name="T81" fmla="*/ 1408 h 2441"/>
                  <a:gd name="T82" fmla="*/ 1615 w 3578"/>
                  <a:gd name="T83" fmla="*/ 2020 h 2441"/>
                  <a:gd name="T84" fmla="*/ 1606 w 3578"/>
                  <a:gd name="T85" fmla="*/ 2130 h 2441"/>
                  <a:gd name="T86" fmla="*/ 1418 w 3578"/>
                  <a:gd name="T87" fmla="*/ 2204 h 2441"/>
                  <a:gd name="T88" fmla="*/ 1296 w 3578"/>
                  <a:gd name="T89" fmla="*/ 2072 h 2441"/>
                  <a:gd name="T90" fmla="*/ 1096 w 3578"/>
                  <a:gd name="T91" fmla="*/ 1525 h 2441"/>
                  <a:gd name="T92" fmla="*/ 956 w 3578"/>
                  <a:gd name="T93" fmla="*/ 1299 h 2441"/>
                  <a:gd name="T94" fmla="*/ 947 w 3578"/>
                  <a:gd name="T95" fmla="*/ 1286 h 2441"/>
                  <a:gd name="T96" fmla="*/ 938 w 3578"/>
                  <a:gd name="T97" fmla="*/ 1323 h 2441"/>
                  <a:gd name="T98" fmla="*/ 388 w 3578"/>
                  <a:gd name="T99" fmla="*/ 2015 h 2441"/>
                  <a:gd name="T100" fmla="*/ 205 w 3578"/>
                  <a:gd name="T101" fmla="*/ 2097 h 2441"/>
                  <a:gd name="T102" fmla="*/ 3 w 3578"/>
                  <a:gd name="T103" fmla="*/ 1974 h 2441"/>
                  <a:gd name="T104" fmla="*/ 0 w 3578"/>
                  <a:gd name="T105" fmla="*/ 1967 h 2441"/>
                  <a:gd name="T106" fmla="*/ 0 w 3578"/>
                  <a:gd name="T107" fmla="*/ 1919 h 244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</a:cxnLst>
                <a:rect l="0" t="0" r="r" b="b"/>
                <a:pathLst>
                  <a:path w="3578" h="2441">
                    <a:moveTo>
                      <a:pt x="0" y="1919"/>
                    </a:moveTo>
                    <a:cubicBezTo>
                      <a:pt x="1" y="1918"/>
                      <a:pt x="2" y="1917"/>
                      <a:pt x="2" y="1916"/>
                    </a:cubicBezTo>
                    <a:cubicBezTo>
                      <a:pt x="15" y="1853"/>
                      <a:pt x="55" y="1815"/>
                      <a:pt x="113" y="1792"/>
                    </a:cubicBezTo>
                    <a:cubicBezTo>
                      <a:pt x="192" y="1761"/>
                      <a:pt x="266" y="1721"/>
                      <a:pt x="335" y="1671"/>
                    </a:cubicBezTo>
                    <a:cubicBezTo>
                      <a:pt x="523" y="1532"/>
                      <a:pt x="629" y="1347"/>
                      <a:pt x="648" y="1113"/>
                    </a:cubicBezTo>
                    <a:cubicBezTo>
                      <a:pt x="652" y="1067"/>
                      <a:pt x="652" y="1020"/>
                      <a:pt x="651" y="973"/>
                    </a:cubicBezTo>
                    <a:cubicBezTo>
                      <a:pt x="650" y="918"/>
                      <a:pt x="663" y="867"/>
                      <a:pt x="690" y="819"/>
                    </a:cubicBezTo>
                    <a:cubicBezTo>
                      <a:pt x="832" y="561"/>
                      <a:pt x="993" y="317"/>
                      <a:pt x="1176" y="87"/>
                    </a:cubicBezTo>
                    <a:cubicBezTo>
                      <a:pt x="1234" y="13"/>
                      <a:pt x="1313" y="0"/>
                      <a:pt x="1399" y="18"/>
                    </a:cubicBezTo>
                    <a:cubicBezTo>
                      <a:pt x="1475" y="33"/>
                      <a:pt x="1533" y="76"/>
                      <a:pt x="1569" y="146"/>
                    </a:cubicBezTo>
                    <a:cubicBezTo>
                      <a:pt x="1572" y="153"/>
                      <a:pt x="1581" y="159"/>
                      <a:pt x="1589" y="163"/>
                    </a:cubicBezTo>
                    <a:cubicBezTo>
                      <a:pt x="1787" y="262"/>
                      <a:pt x="1984" y="361"/>
                      <a:pt x="2182" y="459"/>
                    </a:cubicBezTo>
                    <a:cubicBezTo>
                      <a:pt x="2217" y="477"/>
                      <a:pt x="2246" y="499"/>
                      <a:pt x="2253" y="540"/>
                    </a:cubicBezTo>
                    <a:cubicBezTo>
                      <a:pt x="2257" y="561"/>
                      <a:pt x="2254" y="583"/>
                      <a:pt x="2254" y="608"/>
                    </a:cubicBezTo>
                    <a:cubicBezTo>
                      <a:pt x="2258" y="610"/>
                      <a:pt x="2266" y="615"/>
                      <a:pt x="2275" y="618"/>
                    </a:cubicBezTo>
                    <a:cubicBezTo>
                      <a:pt x="2305" y="628"/>
                      <a:pt x="2318" y="650"/>
                      <a:pt x="2320" y="681"/>
                    </a:cubicBezTo>
                    <a:cubicBezTo>
                      <a:pt x="2327" y="786"/>
                      <a:pt x="2334" y="891"/>
                      <a:pt x="2341" y="996"/>
                    </a:cubicBezTo>
                    <a:cubicBezTo>
                      <a:pt x="2341" y="1002"/>
                      <a:pt x="2343" y="1008"/>
                      <a:pt x="2344" y="1015"/>
                    </a:cubicBezTo>
                    <a:cubicBezTo>
                      <a:pt x="2348" y="1015"/>
                      <a:pt x="2352" y="1015"/>
                      <a:pt x="2356" y="1015"/>
                    </a:cubicBezTo>
                    <a:cubicBezTo>
                      <a:pt x="2382" y="1014"/>
                      <a:pt x="2401" y="1025"/>
                      <a:pt x="2412" y="1049"/>
                    </a:cubicBezTo>
                    <a:cubicBezTo>
                      <a:pt x="2422" y="1072"/>
                      <a:pt x="2418" y="1095"/>
                      <a:pt x="2400" y="1113"/>
                    </a:cubicBezTo>
                    <a:cubicBezTo>
                      <a:pt x="2355" y="1159"/>
                      <a:pt x="2316" y="1210"/>
                      <a:pt x="2285" y="1266"/>
                    </a:cubicBezTo>
                    <a:cubicBezTo>
                      <a:pt x="2068" y="1654"/>
                      <a:pt x="2292" y="2157"/>
                      <a:pt x="2726" y="2255"/>
                    </a:cubicBezTo>
                    <a:cubicBezTo>
                      <a:pt x="3011" y="2320"/>
                      <a:pt x="3290" y="2207"/>
                      <a:pt x="3453" y="1962"/>
                    </a:cubicBezTo>
                    <a:cubicBezTo>
                      <a:pt x="3467" y="1940"/>
                      <a:pt x="3485" y="1925"/>
                      <a:pt x="3513" y="1929"/>
                    </a:cubicBezTo>
                    <a:cubicBezTo>
                      <a:pt x="3556" y="1934"/>
                      <a:pt x="3578" y="1982"/>
                      <a:pt x="3552" y="2018"/>
                    </a:cubicBezTo>
                    <a:cubicBezTo>
                      <a:pt x="3516" y="2068"/>
                      <a:pt x="3481" y="2119"/>
                      <a:pt x="3436" y="2161"/>
                    </a:cubicBezTo>
                    <a:cubicBezTo>
                      <a:pt x="3212" y="2373"/>
                      <a:pt x="2946" y="2441"/>
                      <a:pt x="2652" y="2352"/>
                    </a:cubicBezTo>
                    <a:cubicBezTo>
                      <a:pt x="2362" y="2264"/>
                      <a:pt x="2179" y="2063"/>
                      <a:pt x="2108" y="1768"/>
                    </a:cubicBezTo>
                    <a:cubicBezTo>
                      <a:pt x="2055" y="1545"/>
                      <a:pt x="2099" y="1337"/>
                      <a:pt x="2226" y="1146"/>
                    </a:cubicBezTo>
                    <a:cubicBezTo>
                      <a:pt x="2232" y="1138"/>
                      <a:pt x="2236" y="1126"/>
                      <a:pt x="2235" y="1115"/>
                    </a:cubicBezTo>
                    <a:cubicBezTo>
                      <a:pt x="2227" y="989"/>
                      <a:pt x="2218" y="863"/>
                      <a:pt x="2209" y="737"/>
                    </a:cubicBezTo>
                    <a:cubicBezTo>
                      <a:pt x="2209" y="728"/>
                      <a:pt x="2208" y="715"/>
                      <a:pt x="2203" y="713"/>
                    </a:cubicBezTo>
                    <a:cubicBezTo>
                      <a:pt x="2188" y="706"/>
                      <a:pt x="2170" y="696"/>
                      <a:pt x="2156" y="699"/>
                    </a:cubicBezTo>
                    <a:cubicBezTo>
                      <a:pt x="2119" y="705"/>
                      <a:pt x="2086" y="700"/>
                      <a:pt x="2053" y="683"/>
                    </a:cubicBezTo>
                    <a:cubicBezTo>
                      <a:pt x="1885" y="599"/>
                      <a:pt x="1716" y="515"/>
                      <a:pt x="1548" y="431"/>
                    </a:cubicBezTo>
                    <a:cubicBezTo>
                      <a:pt x="1541" y="427"/>
                      <a:pt x="1535" y="424"/>
                      <a:pt x="1526" y="420"/>
                    </a:cubicBezTo>
                    <a:cubicBezTo>
                      <a:pt x="1510" y="441"/>
                      <a:pt x="1493" y="462"/>
                      <a:pt x="1477" y="483"/>
                    </a:cubicBezTo>
                    <a:cubicBezTo>
                      <a:pt x="1355" y="645"/>
                      <a:pt x="1248" y="817"/>
                      <a:pt x="1148" y="993"/>
                    </a:cubicBezTo>
                    <a:cubicBezTo>
                      <a:pt x="1140" y="1006"/>
                      <a:pt x="1146" y="1012"/>
                      <a:pt x="1153" y="1021"/>
                    </a:cubicBezTo>
                    <a:cubicBezTo>
                      <a:pt x="1247" y="1142"/>
                      <a:pt x="1328" y="1272"/>
                      <a:pt x="1398" y="1408"/>
                    </a:cubicBezTo>
                    <a:cubicBezTo>
                      <a:pt x="1498" y="1603"/>
                      <a:pt x="1569" y="1807"/>
                      <a:pt x="1615" y="2020"/>
                    </a:cubicBezTo>
                    <a:cubicBezTo>
                      <a:pt x="1623" y="2057"/>
                      <a:pt x="1622" y="2094"/>
                      <a:pt x="1606" y="2130"/>
                    </a:cubicBezTo>
                    <a:cubicBezTo>
                      <a:pt x="1575" y="2194"/>
                      <a:pt x="1495" y="2227"/>
                      <a:pt x="1418" y="2204"/>
                    </a:cubicBezTo>
                    <a:cubicBezTo>
                      <a:pt x="1351" y="2185"/>
                      <a:pt x="1311" y="2140"/>
                      <a:pt x="1296" y="2072"/>
                    </a:cubicBezTo>
                    <a:cubicBezTo>
                      <a:pt x="1255" y="1880"/>
                      <a:pt x="1191" y="1696"/>
                      <a:pt x="1096" y="1525"/>
                    </a:cubicBezTo>
                    <a:cubicBezTo>
                      <a:pt x="1053" y="1448"/>
                      <a:pt x="1003" y="1374"/>
                      <a:pt x="956" y="1299"/>
                    </a:cubicBezTo>
                    <a:cubicBezTo>
                      <a:pt x="954" y="1295"/>
                      <a:pt x="952" y="1293"/>
                      <a:pt x="947" y="1286"/>
                    </a:cubicBezTo>
                    <a:cubicBezTo>
                      <a:pt x="943" y="1300"/>
                      <a:pt x="940" y="1312"/>
                      <a:pt x="938" y="1323"/>
                    </a:cubicBezTo>
                    <a:cubicBezTo>
                      <a:pt x="858" y="1636"/>
                      <a:pt x="669" y="1862"/>
                      <a:pt x="388" y="2015"/>
                    </a:cubicBezTo>
                    <a:cubicBezTo>
                      <a:pt x="329" y="2047"/>
                      <a:pt x="268" y="2078"/>
                      <a:pt x="205" y="2097"/>
                    </a:cubicBezTo>
                    <a:cubicBezTo>
                      <a:pt x="107" y="2128"/>
                      <a:pt x="25" y="2075"/>
                      <a:pt x="3" y="1974"/>
                    </a:cubicBezTo>
                    <a:cubicBezTo>
                      <a:pt x="3" y="1972"/>
                      <a:pt x="1" y="1969"/>
                      <a:pt x="0" y="1967"/>
                    </a:cubicBezTo>
                    <a:cubicBezTo>
                      <a:pt x="0" y="1951"/>
                      <a:pt x="0" y="1935"/>
                      <a:pt x="0" y="191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69" name="Freeform 8"/>
              <p:cNvSpPr>
                <a:spLocks noEditPoints="1"/>
              </p:cNvSpPr>
              <p:nvPr/>
            </p:nvSpPr>
            <p:spPr bwMode="auto">
              <a:xfrm>
                <a:off x="-2367545" y="-1193978"/>
                <a:ext cx="3969137" cy="5924553"/>
              </a:xfrm>
              <a:custGeom>
                <a:avLst/>
                <a:gdLst>
                  <a:gd name="T0" fmla="*/ 1478 w 1478"/>
                  <a:gd name="T1" fmla="*/ 1725 h 1862"/>
                  <a:gd name="T2" fmla="*/ 1475 w 1478"/>
                  <a:gd name="T3" fmla="*/ 1732 h 1862"/>
                  <a:gd name="T4" fmla="*/ 1369 w 1478"/>
                  <a:gd name="T5" fmla="*/ 1846 h 1862"/>
                  <a:gd name="T6" fmla="*/ 1211 w 1478"/>
                  <a:gd name="T7" fmla="*/ 1798 h 1862"/>
                  <a:gd name="T8" fmla="*/ 1170 w 1478"/>
                  <a:gd name="T9" fmla="*/ 1730 h 1862"/>
                  <a:gd name="T10" fmla="*/ 938 w 1478"/>
                  <a:gd name="T11" fmla="*/ 1178 h 1862"/>
                  <a:gd name="T12" fmla="*/ 930 w 1478"/>
                  <a:gd name="T13" fmla="*/ 1160 h 1862"/>
                  <a:gd name="T14" fmla="*/ 670 w 1478"/>
                  <a:gd name="T15" fmla="*/ 1160 h 1862"/>
                  <a:gd name="T16" fmla="*/ 189 w 1478"/>
                  <a:gd name="T17" fmla="*/ 1157 h 1862"/>
                  <a:gd name="T18" fmla="*/ 3 w 1478"/>
                  <a:gd name="T19" fmla="*/ 977 h 1862"/>
                  <a:gd name="T20" fmla="*/ 12 w 1478"/>
                  <a:gd name="T21" fmla="*/ 780 h 1862"/>
                  <a:gd name="T22" fmla="*/ 94 w 1478"/>
                  <a:gd name="T23" fmla="*/ 202 h 1862"/>
                  <a:gd name="T24" fmla="*/ 273 w 1478"/>
                  <a:gd name="T25" fmla="*/ 21 h 1862"/>
                  <a:gd name="T26" fmla="*/ 497 w 1478"/>
                  <a:gd name="T27" fmla="*/ 90 h 1862"/>
                  <a:gd name="T28" fmla="*/ 723 w 1478"/>
                  <a:gd name="T29" fmla="*/ 341 h 1862"/>
                  <a:gd name="T30" fmla="*/ 974 w 1478"/>
                  <a:gd name="T31" fmla="*/ 601 h 1862"/>
                  <a:gd name="T32" fmla="*/ 946 w 1478"/>
                  <a:gd name="T33" fmla="*/ 831 h 1862"/>
                  <a:gd name="T34" fmla="*/ 929 w 1478"/>
                  <a:gd name="T35" fmla="*/ 841 h 1862"/>
                  <a:gd name="T36" fmla="*/ 1005 w 1478"/>
                  <a:gd name="T37" fmla="*/ 845 h 1862"/>
                  <a:gd name="T38" fmla="*/ 1188 w 1478"/>
                  <a:gd name="T39" fmla="*/ 973 h 1862"/>
                  <a:gd name="T40" fmla="*/ 1458 w 1478"/>
                  <a:gd name="T41" fmla="*/ 1611 h 1862"/>
                  <a:gd name="T42" fmla="*/ 1478 w 1478"/>
                  <a:gd name="T43" fmla="*/ 1673 h 1862"/>
                  <a:gd name="T44" fmla="*/ 1478 w 1478"/>
                  <a:gd name="T45" fmla="*/ 1725 h 1862"/>
                  <a:gd name="T46" fmla="*/ 492 w 1478"/>
                  <a:gd name="T47" fmla="*/ 836 h 1862"/>
                  <a:gd name="T48" fmla="*/ 817 w 1478"/>
                  <a:gd name="T49" fmla="*/ 843 h 1862"/>
                  <a:gd name="T50" fmla="*/ 525 w 1478"/>
                  <a:gd name="T51" fmla="*/ 555 h 1862"/>
                  <a:gd name="T52" fmla="*/ 492 w 1478"/>
                  <a:gd name="T53" fmla="*/ 836 h 1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1478" h="1862">
                    <a:moveTo>
                      <a:pt x="1478" y="1725"/>
                    </a:moveTo>
                    <a:cubicBezTo>
                      <a:pt x="1477" y="1727"/>
                      <a:pt x="1475" y="1730"/>
                      <a:pt x="1475" y="1732"/>
                    </a:cubicBezTo>
                    <a:cubicBezTo>
                      <a:pt x="1464" y="1793"/>
                      <a:pt x="1428" y="1831"/>
                      <a:pt x="1369" y="1846"/>
                    </a:cubicBezTo>
                    <a:cubicBezTo>
                      <a:pt x="1306" y="1862"/>
                      <a:pt x="1253" y="1845"/>
                      <a:pt x="1211" y="1798"/>
                    </a:cubicBezTo>
                    <a:cubicBezTo>
                      <a:pt x="1194" y="1778"/>
                      <a:pt x="1180" y="1754"/>
                      <a:pt x="1170" y="1730"/>
                    </a:cubicBezTo>
                    <a:cubicBezTo>
                      <a:pt x="1092" y="1546"/>
                      <a:pt x="1015" y="1362"/>
                      <a:pt x="938" y="1178"/>
                    </a:cubicBezTo>
                    <a:cubicBezTo>
                      <a:pt x="935" y="1171"/>
                      <a:pt x="932" y="1165"/>
                      <a:pt x="930" y="1160"/>
                    </a:cubicBezTo>
                    <a:cubicBezTo>
                      <a:pt x="842" y="1160"/>
                      <a:pt x="756" y="1160"/>
                      <a:pt x="670" y="1160"/>
                    </a:cubicBezTo>
                    <a:cubicBezTo>
                      <a:pt x="510" y="1159"/>
                      <a:pt x="349" y="1159"/>
                      <a:pt x="189" y="1157"/>
                    </a:cubicBezTo>
                    <a:cubicBezTo>
                      <a:pt x="85" y="1155"/>
                      <a:pt x="9" y="1083"/>
                      <a:pt x="3" y="977"/>
                    </a:cubicBezTo>
                    <a:cubicBezTo>
                      <a:pt x="0" y="911"/>
                      <a:pt x="4" y="845"/>
                      <a:pt x="12" y="780"/>
                    </a:cubicBezTo>
                    <a:cubicBezTo>
                      <a:pt x="37" y="587"/>
                      <a:pt x="65" y="394"/>
                      <a:pt x="94" y="202"/>
                    </a:cubicBezTo>
                    <a:cubicBezTo>
                      <a:pt x="107" y="111"/>
                      <a:pt x="176" y="44"/>
                      <a:pt x="273" y="21"/>
                    </a:cubicBezTo>
                    <a:cubicBezTo>
                      <a:pt x="362" y="0"/>
                      <a:pt x="436" y="26"/>
                      <a:pt x="497" y="90"/>
                    </a:cubicBezTo>
                    <a:cubicBezTo>
                      <a:pt x="574" y="172"/>
                      <a:pt x="646" y="259"/>
                      <a:pt x="723" y="341"/>
                    </a:cubicBezTo>
                    <a:cubicBezTo>
                      <a:pt x="805" y="429"/>
                      <a:pt x="887" y="519"/>
                      <a:pt x="974" y="601"/>
                    </a:cubicBezTo>
                    <a:cubicBezTo>
                      <a:pt x="1067" y="688"/>
                      <a:pt x="1019" y="791"/>
                      <a:pt x="946" y="831"/>
                    </a:cubicBezTo>
                    <a:cubicBezTo>
                      <a:pt x="942" y="833"/>
                      <a:pt x="938" y="836"/>
                      <a:pt x="929" y="841"/>
                    </a:cubicBezTo>
                    <a:cubicBezTo>
                      <a:pt x="958" y="842"/>
                      <a:pt x="981" y="843"/>
                      <a:pt x="1005" y="845"/>
                    </a:cubicBezTo>
                    <a:cubicBezTo>
                      <a:pt x="1093" y="849"/>
                      <a:pt x="1153" y="891"/>
                      <a:pt x="1188" y="973"/>
                    </a:cubicBezTo>
                    <a:cubicBezTo>
                      <a:pt x="1277" y="1186"/>
                      <a:pt x="1368" y="1398"/>
                      <a:pt x="1458" y="1611"/>
                    </a:cubicBezTo>
                    <a:cubicBezTo>
                      <a:pt x="1466" y="1631"/>
                      <a:pt x="1471" y="1652"/>
                      <a:pt x="1478" y="1673"/>
                    </a:cubicBezTo>
                    <a:cubicBezTo>
                      <a:pt x="1478" y="1690"/>
                      <a:pt x="1478" y="1708"/>
                      <a:pt x="1478" y="1725"/>
                    </a:cubicBezTo>
                    <a:close/>
                    <a:moveTo>
                      <a:pt x="492" y="836"/>
                    </a:moveTo>
                    <a:cubicBezTo>
                      <a:pt x="603" y="838"/>
                      <a:pt x="710" y="840"/>
                      <a:pt x="817" y="843"/>
                    </a:cubicBezTo>
                    <a:cubicBezTo>
                      <a:pt x="712" y="755"/>
                      <a:pt x="621" y="656"/>
                      <a:pt x="525" y="555"/>
                    </a:cubicBezTo>
                    <a:cubicBezTo>
                      <a:pt x="514" y="651"/>
                      <a:pt x="503" y="742"/>
                      <a:pt x="492" y="836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0" name="Freeform 9"/>
              <p:cNvSpPr>
                <a:spLocks/>
              </p:cNvSpPr>
              <p:nvPr/>
            </p:nvSpPr>
            <p:spPr bwMode="auto">
              <a:xfrm>
                <a:off x="-6338857" y="-3608569"/>
                <a:ext cx="1531024" cy="1727204"/>
              </a:xfrm>
              <a:custGeom>
                <a:avLst/>
                <a:gdLst>
                  <a:gd name="T0" fmla="*/ 315 w 570"/>
                  <a:gd name="T1" fmla="*/ 0 h 543"/>
                  <a:gd name="T2" fmla="*/ 381 w 570"/>
                  <a:gd name="T3" fmla="*/ 20 h 543"/>
                  <a:gd name="T4" fmla="*/ 546 w 570"/>
                  <a:gd name="T5" fmla="*/ 321 h 543"/>
                  <a:gd name="T6" fmla="*/ 288 w 570"/>
                  <a:gd name="T7" fmla="*/ 539 h 543"/>
                  <a:gd name="T8" fmla="*/ 13 w 570"/>
                  <a:gd name="T9" fmla="*/ 288 h 543"/>
                  <a:gd name="T10" fmla="*/ 238 w 570"/>
                  <a:gd name="T11" fmla="*/ 4 h 543"/>
                  <a:gd name="T12" fmla="*/ 251 w 570"/>
                  <a:gd name="T13" fmla="*/ 0 h 543"/>
                  <a:gd name="T14" fmla="*/ 315 w 570"/>
                  <a:gd name="T15" fmla="*/ 0 h 5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570" h="543">
                    <a:moveTo>
                      <a:pt x="315" y="0"/>
                    </a:moveTo>
                    <a:cubicBezTo>
                      <a:pt x="337" y="6"/>
                      <a:pt x="360" y="11"/>
                      <a:pt x="381" y="20"/>
                    </a:cubicBezTo>
                    <a:cubicBezTo>
                      <a:pt x="503" y="68"/>
                      <a:pt x="570" y="192"/>
                      <a:pt x="546" y="321"/>
                    </a:cubicBezTo>
                    <a:cubicBezTo>
                      <a:pt x="524" y="444"/>
                      <a:pt x="414" y="536"/>
                      <a:pt x="288" y="539"/>
                    </a:cubicBezTo>
                    <a:cubicBezTo>
                      <a:pt x="145" y="543"/>
                      <a:pt x="27" y="435"/>
                      <a:pt x="13" y="288"/>
                    </a:cubicBezTo>
                    <a:cubicBezTo>
                      <a:pt x="0" y="154"/>
                      <a:pt x="101" y="26"/>
                      <a:pt x="238" y="4"/>
                    </a:cubicBezTo>
                    <a:cubicBezTo>
                      <a:pt x="242" y="3"/>
                      <a:pt x="247" y="1"/>
                      <a:pt x="251" y="0"/>
                    </a:cubicBezTo>
                    <a:cubicBezTo>
                      <a:pt x="272" y="0"/>
                      <a:pt x="294" y="0"/>
                      <a:pt x="315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71" name="Freeform 10"/>
              <p:cNvSpPr>
                <a:spLocks/>
              </p:cNvSpPr>
              <p:nvPr/>
            </p:nvSpPr>
            <p:spPr bwMode="auto">
              <a:xfrm>
                <a:off x="-2652727" y="-3064052"/>
                <a:ext cx="1496137" cy="1768470"/>
              </a:xfrm>
              <a:custGeom>
                <a:avLst/>
                <a:gdLst>
                  <a:gd name="T0" fmla="*/ 278 w 557"/>
                  <a:gd name="T1" fmla="*/ 0 h 556"/>
                  <a:gd name="T2" fmla="*/ 556 w 557"/>
                  <a:gd name="T3" fmla="*/ 279 h 556"/>
                  <a:gd name="T4" fmla="*/ 278 w 557"/>
                  <a:gd name="T5" fmla="*/ 556 h 556"/>
                  <a:gd name="T6" fmla="*/ 0 w 557"/>
                  <a:gd name="T7" fmla="*/ 278 h 556"/>
                  <a:gd name="T8" fmla="*/ 278 w 557"/>
                  <a:gd name="T9" fmla="*/ 0 h 55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557" h="556">
                    <a:moveTo>
                      <a:pt x="278" y="0"/>
                    </a:moveTo>
                    <a:cubicBezTo>
                      <a:pt x="432" y="0"/>
                      <a:pt x="557" y="125"/>
                      <a:pt x="556" y="279"/>
                    </a:cubicBezTo>
                    <a:cubicBezTo>
                      <a:pt x="555" y="431"/>
                      <a:pt x="431" y="556"/>
                      <a:pt x="278" y="556"/>
                    </a:cubicBezTo>
                    <a:cubicBezTo>
                      <a:pt x="125" y="556"/>
                      <a:pt x="0" y="432"/>
                      <a:pt x="0" y="278"/>
                    </a:cubicBezTo>
                    <a:cubicBezTo>
                      <a:pt x="0" y="124"/>
                      <a:pt x="124" y="0"/>
                      <a:pt x="27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72" name="Группа 13"/>
          <p:cNvGrpSpPr/>
          <p:nvPr/>
        </p:nvGrpSpPr>
        <p:grpSpPr>
          <a:xfrm>
            <a:off x="357158" y="4714884"/>
            <a:ext cx="2081846" cy="1540800"/>
            <a:chOff x="171004" y="4754736"/>
            <a:chExt cx="2268000" cy="1540800"/>
          </a:xfrm>
        </p:grpSpPr>
        <p:sp>
          <p:nvSpPr>
            <p:cNvPr id="73" name="Скругленный прямоугольник 72"/>
            <p:cNvSpPr/>
            <p:nvPr/>
          </p:nvSpPr>
          <p:spPr>
            <a:xfrm>
              <a:off x="171004" y="4754736"/>
              <a:ext cx="2268000" cy="1540800"/>
            </a:xfrm>
            <a:prstGeom prst="roundRect">
              <a:avLst/>
            </a:prstGeom>
            <a:no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74" name="Прямоугольник 73"/>
            <p:cNvSpPr/>
            <p:nvPr/>
          </p:nvSpPr>
          <p:spPr>
            <a:xfrm>
              <a:off x="25866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рочие виды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и</a:t>
              </a:r>
              <a:endParaRPr lang="ru-RU" dirty="0"/>
            </a:p>
          </p:txBody>
        </p:sp>
        <p:sp>
          <p:nvSpPr>
            <p:cNvPr id="75" name="Скругленный прямоугольник 74"/>
            <p:cNvSpPr/>
            <p:nvPr/>
          </p:nvSpPr>
          <p:spPr>
            <a:xfrm>
              <a:off x="800517" y="5529240"/>
              <a:ext cx="1015144" cy="513132"/>
            </a:xfrm>
            <a:prstGeom prst="roundRect">
              <a:avLst>
                <a:gd name="adj" fmla="val 31566"/>
              </a:avLst>
            </a:prstGeom>
            <a:solidFill>
              <a:srgbClr val="B2870E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35,3</a:t>
              </a:r>
              <a:endParaRPr lang="ru-RU" dirty="0"/>
            </a:p>
          </p:txBody>
        </p:sp>
      </p:grpSp>
      <p:cxnSp>
        <p:nvCxnSpPr>
          <p:cNvPr id="76" name="Прямая соединительная линия 75"/>
          <p:cNvCxnSpPr/>
          <p:nvPr/>
        </p:nvCxnSpPr>
        <p:spPr>
          <a:xfrm>
            <a:off x="2428860" y="5715016"/>
            <a:ext cx="1143008" cy="1588"/>
          </a:xfrm>
          <a:prstGeom prst="line">
            <a:avLst/>
          </a:prstGeom>
          <a:ln w="82550" cap="rnd">
            <a:solidFill>
              <a:srgbClr val="EEBB2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7" name="Группа 24"/>
          <p:cNvGrpSpPr/>
          <p:nvPr/>
        </p:nvGrpSpPr>
        <p:grpSpPr>
          <a:xfrm>
            <a:off x="3571868" y="4857760"/>
            <a:ext cx="962918" cy="825642"/>
            <a:chOff x="5189125" y="5555686"/>
            <a:chExt cx="952507" cy="825642"/>
          </a:xfrm>
        </p:grpSpPr>
        <p:sp>
          <p:nvSpPr>
            <p:cNvPr id="78" name="Прямоугольник 77"/>
            <p:cNvSpPr/>
            <p:nvPr/>
          </p:nvSpPr>
          <p:spPr>
            <a:xfrm>
              <a:off x="5189125" y="5949280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10%</a:t>
              </a:r>
            </a:p>
          </p:txBody>
        </p:sp>
        <p:grpSp>
          <p:nvGrpSpPr>
            <p:cNvPr id="79" name="Группа 23"/>
            <p:cNvGrpSpPr/>
            <p:nvPr/>
          </p:nvGrpSpPr>
          <p:grpSpPr>
            <a:xfrm>
              <a:off x="5347176" y="5555686"/>
              <a:ext cx="621211" cy="465602"/>
              <a:chOff x="-4987107" y="4351686"/>
              <a:chExt cx="4841876" cy="48387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80" name="Freeform 17"/>
              <p:cNvSpPr>
                <a:spLocks noEditPoints="1"/>
              </p:cNvSpPr>
              <p:nvPr/>
            </p:nvSpPr>
            <p:spPr bwMode="auto">
              <a:xfrm>
                <a:off x="-3869505" y="4351686"/>
                <a:ext cx="2606671" cy="3092452"/>
              </a:xfrm>
              <a:custGeom>
                <a:avLst/>
                <a:gdLst>
                  <a:gd name="T0" fmla="*/ 1303 w 2545"/>
                  <a:gd name="T1" fmla="*/ 0 h 3021"/>
                  <a:gd name="T2" fmla="*/ 1505 w 2545"/>
                  <a:gd name="T3" fmla="*/ 105 h 3021"/>
                  <a:gd name="T4" fmla="*/ 1994 w 2545"/>
                  <a:gd name="T5" fmla="*/ 384 h 3021"/>
                  <a:gd name="T6" fmla="*/ 2451 w 2545"/>
                  <a:gd name="T7" fmla="*/ 646 h 3021"/>
                  <a:gd name="T8" fmla="*/ 2545 w 2545"/>
                  <a:gd name="T9" fmla="*/ 809 h 3021"/>
                  <a:gd name="T10" fmla="*/ 2545 w 2545"/>
                  <a:gd name="T11" fmla="*/ 1895 h 3021"/>
                  <a:gd name="T12" fmla="*/ 2480 w 2545"/>
                  <a:gd name="T13" fmla="*/ 2037 h 3021"/>
                  <a:gd name="T14" fmla="*/ 2111 w 2545"/>
                  <a:gd name="T15" fmla="*/ 2346 h 3021"/>
                  <a:gd name="T16" fmla="*/ 1670 w 2545"/>
                  <a:gd name="T17" fmla="*/ 2718 h 3021"/>
                  <a:gd name="T18" fmla="*/ 1380 w 2545"/>
                  <a:gd name="T19" fmla="*/ 2962 h 3021"/>
                  <a:gd name="T20" fmla="*/ 1142 w 2545"/>
                  <a:gd name="T21" fmla="*/ 2960 h 3021"/>
                  <a:gd name="T22" fmla="*/ 421 w 2545"/>
                  <a:gd name="T23" fmla="*/ 2341 h 3021"/>
                  <a:gd name="T24" fmla="*/ 64 w 2545"/>
                  <a:gd name="T25" fmla="*/ 2035 h 3021"/>
                  <a:gd name="T26" fmla="*/ 0 w 2545"/>
                  <a:gd name="T27" fmla="*/ 1895 h 3021"/>
                  <a:gd name="T28" fmla="*/ 0 w 2545"/>
                  <a:gd name="T29" fmla="*/ 1622 h 3021"/>
                  <a:gd name="T30" fmla="*/ 0 w 2545"/>
                  <a:gd name="T31" fmla="*/ 815 h 3021"/>
                  <a:gd name="T32" fmla="*/ 100 w 2545"/>
                  <a:gd name="T33" fmla="*/ 642 h 3021"/>
                  <a:gd name="T34" fmla="*/ 803 w 2545"/>
                  <a:gd name="T35" fmla="*/ 240 h 3021"/>
                  <a:gd name="T36" fmla="*/ 1178 w 2545"/>
                  <a:gd name="T37" fmla="*/ 25 h 3021"/>
                  <a:gd name="T38" fmla="*/ 1234 w 2545"/>
                  <a:gd name="T39" fmla="*/ 0 h 3021"/>
                  <a:gd name="T40" fmla="*/ 1303 w 2545"/>
                  <a:gd name="T41" fmla="*/ 0 h 3021"/>
                  <a:gd name="T42" fmla="*/ 1386 w 2545"/>
                  <a:gd name="T43" fmla="*/ 1426 h 3021"/>
                  <a:gd name="T44" fmla="*/ 2147 w 2545"/>
                  <a:gd name="T45" fmla="*/ 898 h 3021"/>
                  <a:gd name="T46" fmla="*/ 2136 w 2545"/>
                  <a:gd name="T47" fmla="*/ 891 h 3021"/>
                  <a:gd name="T48" fmla="*/ 1978 w 2545"/>
                  <a:gd name="T49" fmla="*/ 800 h 3021"/>
                  <a:gd name="T50" fmla="*/ 1284 w 2545"/>
                  <a:gd name="T51" fmla="*/ 398 h 3021"/>
                  <a:gd name="T52" fmla="*/ 1261 w 2545"/>
                  <a:gd name="T53" fmla="*/ 398 h 3021"/>
                  <a:gd name="T54" fmla="*/ 623 w 2545"/>
                  <a:gd name="T55" fmla="*/ 767 h 3021"/>
                  <a:gd name="T56" fmla="*/ 534 w 2545"/>
                  <a:gd name="T57" fmla="*/ 818 h 3021"/>
                  <a:gd name="T58" fmla="*/ 1386 w 2545"/>
                  <a:gd name="T59" fmla="*/ 1426 h 3021"/>
                  <a:gd name="T60" fmla="*/ 364 w 2545"/>
                  <a:gd name="T61" fmla="*/ 1143 h 3021"/>
                  <a:gd name="T62" fmla="*/ 364 w 2545"/>
                  <a:gd name="T63" fmla="*/ 1153 h 3021"/>
                  <a:gd name="T64" fmla="*/ 364 w 2545"/>
                  <a:gd name="T65" fmla="*/ 1796 h 3021"/>
                  <a:gd name="T66" fmla="*/ 372 w 2545"/>
                  <a:gd name="T67" fmla="*/ 1814 h 3021"/>
                  <a:gd name="T68" fmla="*/ 470 w 2545"/>
                  <a:gd name="T69" fmla="*/ 1899 h 3021"/>
                  <a:gd name="T70" fmla="*/ 817 w 2545"/>
                  <a:gd name="T71" fmla="*/ 2200 h 3021"/>
                  <a:gd name="T72" fmla="*/ 1196 w 2545"/>
                  <a:gd name="T73" fmla="*/ 2529 h 3021"/>
                  <a:gd name="T74" fmla="*/ 1260 w 2545"/>
                  <a:gd name="T75" fmla="*/ 2584 h 3021"/>
                  <a:gd name="T76" fmla="*/ 1273 w 2545"/>
                  <a:gd name="T77" fmla="*/ 2560 h 3021"/>
                  <a:gd name="T78" fmla="*/ 1273 w 2545"/>
                  <a:gd name="T79" fmla="*/ 1804 h 3021"/>
                  <a:gd name="T80" fmla="*/ 1273 w 2545"/>
                  <a:gd name="T81" fmla="*/ 1797 h 3021"/>
                  <a:gd name="T82" fmla="*/ 1267 w 2545"/>
                  <a:gd name="T83" fmla="*/ 1788 h 3021"/>
                  <a:gd name="T84" fmla="*/ 1121 w 2545"/>
                  <a:gd name="T85" fmla="*/ 1684 h 3021"/>
                  <a:gd name="T86" fmla="*/ 463 w 2545"/>
                  <a:gd name="T87" fmla="*/ 1213 h 3021"/>
                  <a:gd name="T88" fmla="*/ 364 w 2545"/>
                  <a:gd name="T89" fmla="*/ 1143 h 302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2545" h="3021">
                    <a:moveTo>
                      <a:pt x="1303" y="0"/>
                    </a:moveTo>
                    <a:cubicBezTo>
                      <a:pt x="1378" y="21"/>
                      <a:pt x="1439" y="67"/>
                      <a:pt x="1505" y="105"/>
                    </a:cubicBezTo>
                    <a:cubicBezTo>
                      <a:pt x="1669" y="197"/>
                      <a:pt x="1831" y="291"/>
                      <a:pt x="1994" y="384"/>
                    </a:cubicBezTo>
                    <a:cubicBezTo>
                      <a:pt x="2146" y="471"/>
                      <a:pt x="2299" y="558"/>
                      <a:pt x="2451" y="646"/>
                    </a:cubicBezTo>
                    <a:cubicBezTo>
                      <a:pt x="2513" y="682"/>
                      <a:pt x="2545" y="736"/>
                      <a:pt x="2545" y="809"/>
                    </a:cubicBezTo>
                    <a:cubicBezTo>
                      <a:pt x="2545" y="1171"/>
                      <a:pt x="2545" y="1533"/>
                      <a:pt x="2545" y="1895"/>
                    </a:cubicBezTo>
                    <a:cubicBezTo>
                      <a:pt x="2545" y="1952"/>
                      <a:pt x="2524" y="2000"/>
                      <a:pt x="2480" y="2037"/>
                    </a:cubicBezTo>
                    <a:cubicBezTo>
                      <a:pt x="2357" y="2140"/>
                      <a:pt x="2234" y="2243"/>
                      <a:pt x="2111" y="2346"/>
                    </a:cubicBezTo>
                    <a:cubicBezTo>
                      <a:pt x="1964" y="2470"/>
                      <a:pt x="1817" y="2594"/>
                      <a:pt x="1670" y="2718"/>
                    </a:cubicBezTo>
                    <a:cubicBezTo>
                      <a:pt x="1573" y="2799"/>
                      <a:pt x="1477" y="2881"/>
                      <a:pt x="1380" y="2962"/>
                    </a:cubicBezTo>
                    <a:cubicBezTo>
                      <a:pt x="1309" y="3021"/>
                      <a:pt x="1213" y="3020"/>
                      <a:pt x="1142" y="2960"/>
                    </a:cubicBezTo>
                    <a:cubicBezTo>
                      <a:pt x="902" y="2754"/>
                      <a:pt x="661" y="2548"/>
                      <a:pt x="421" y="2341"/>
                    </a:cubicBezTo>
                    <a:cubicBezTo>
                      <a:pt x="302" y="2239"/>
                      <a:pt x="183" y="2137"/>
                      <a:pt x="64" y="2035"/>
                    </a:cubicBezTo>
                    <a:cubicBezTo>
                      <a:pt x="21" y="1998"/>
                      <a:pt x="0" y="1951"/>
                      <a:pt x="0" y="1895"/>
                    </a:cubicBezTo>
                    <a:cubicBezTo>
                      <a:pt x="0" y="1804"/>
                      <a:pt x="0" y="1713"/>
                      <a:pt x="0" y="1622"/>
                    </a:cubicBezTo>
                    <a:cubicBezTo>
                      <a:pt x="0" y="1353"/>
                      <a:pt x="1" y="1084"/>
                      <a:pt x="0" y="815"/>
                    </a:cubicBezTo>
                    <a:cubicBezTo>
                      <a:pt x="0" y="737"/>
                      <a:pt x="33" y="681"/>
                      <a:pt x="100" y="642"/>
                    </a:cubicBezTo>
                    <a:cubicBezTo>
                      <a:pt x="335" y="509"/>
                      <a:pt x="569" y="374"/>
                      <a:pt x="803" y="240"/>
                    </a:cubicBezTo>
                    <a:cubicBezTo>
                      <a:pt x="928" y="168"/>
                      <a:pt x="1053" y="96"/>
                      <a:pt x="1178" y="25"/>
                    </a:cubicBezTo>
                    <a:cubicBezTo>
                      <a:pt x="1196" y="15"/>
                      <a:pt x="1215" y="8"/>
                      <a:pt x="1234" y="0"/>
                    </a:cubicBezTo>
                    <a:cubicBezTo>
                      <a:pt x="1257" y="0"/>
                      <a:pt x="1280" y="0"/>
                      <a:pt x="1303" y="0"/>
                    </a:cubicBezTo>
                    <a:close/>
                    <a:moveTo>
                      <a:pt x="1386" y="1426"/>
                    </a:moveTo>
                    <a:cubicBezTo>
                      <a:pt x="1640" y="1250"/>
                      <a:pt x="1893" y="1074"/>
                      <a:pt x="2147" y="898"/>
                    </a:cubicBezTo>
                    <a:cubicBezTo>
                      <a:pt x="2143" y="895"/>
                      <a:pt x="2140" y="893"/>
                      <a:pt x="2136" y="891"/>
                    </a:cubicBezTo>
                    <a:cubicBezTo>
                      <a:pt x="2084" y="861"/>
                      <a:pt x="2031" y="830"/>
                      <a:pt x="1978" y="800"/>
                    </a:cubicBezTo>
                    <a:cubicBezTo>
                      <a:pt x="1747" y="666"/>
                      <a:pt x="1515" y="532"/>
                      <a:pt x="1284" y="398"/>
                    </a:cubicBezTo>
                    <a:cubicBezTo>
                      <a:pt x="1275" y="393"/>
                      <a:pt x="1270" y="394"/>
                      <a:pt x="1261" y="398"/>
                    </a:cubicBezTo>
                    <a:cubicBezTo>
                      <a:pt x="1049" y="521"/>
                      <a:pt x="836" y="644"/>
                      <a:pt x="623" y="767"/>
                    </a:cubicBezTo>
                    <a:cubicBezTo>
                      <a:pt x="594" y="783"/>
                      <a:pt x="565" y="800"/>
                      <a:pt x="534" y="818"/>
                    </a:cubicBezTo>
                    <a:cubicBezTo>
                      <a:pt x="819" y="1021"/>
                      <a:pt x="1102" y="1223"/>
                      <a:pt x="1386" y="1426"/>
                    </a:cubicBezTo>
                    <a:close/>
                    <a:moveTo>
                      <a:pt x="364" y="1143"/>
                    </a:moveTo>
                    <a:cubicBezTo>
                      <a:pt x="364" y="1147"/>
                      <a:pt x="364" y="1150"/>
                      <a:pt x="364" y="1153"/>
                    </a:cubicBezTo>
                    <a:cubicBezTo>
                      <a:pt x="364" y="1367"/>
                      <a:pt x="364" y="1582"/>
                      <a:pt x="364" y="1796"/>
                    </a:cubicBezTo>
                    <a:cubicBezTo>
                      <a:pt x="364" y="1804"/>
                      <a:pt x="366" y="1809"/>
                      <a:pt x="372" y="1814"/>
                    </a:cubicBezTo>
                    <a:cubicBezTo>
                      <a:pt x="405" y="1842"/>
                      <a:pt x="438" y="1871"/>
                      <a:pt x="470" y="1899"/>
                    </a:cubicBezTo>
                    <a:cubicBezTo>
                      <a:pt x="586" y="2000"/>
                      <a:pt x="701" y="2100"/>
                      <a:pt x="817" y="2200"/>
                    </a:cubicBezTo>
                    <a:cubicBezTo>
                      <a:pt x="943" y="2310"/>
                      <a:pt x="1070" y="2419"/>
                      <a:pt x="1196" y="2529"/>
                    </a:cubicBezTo>
                    <a:cubicBezTo>
                      <a:pt x="1217" y="2547"/>
                      <a:pt x="1239" y="2566"/>
                      <a:pt x="1260" y="2584"/>
                    </a:cubicBezTo>
                    <a:cubicBezTo>
                      <a:pt x="1272" y="2579"/>
                      <a:pt x="1273" y="2570"/>
                      <a:pt x="1273" y="2560"/>
                    </a:cubicBezTo>
                    <a:cubicBezTo>
                      <a:pt x="1273" y="2308"/>
                      <a:pt x="1273" y="2056"/>
                      <a:pt x="1273" y="1804"/>
                    </a:cubicBezTo>
                    <a:cubicBezTo>
                      <a:pt x="1273" y="1802"/>
                      <a:pt x="1274" y="1799"/>
                      <a:pt x="1273" y="1797"/>
                    </a:cubicBezTo>
                    <a:cubicBezTo>
                      <a:pt x="1272" y="1793"/>
                      <a:pt x="1270" y="1789"/>
                      <a:pt x="1267" y="1788"/>
                    </a:cubicBezTo>
                    <a:cubicBezTo>
                      <a:pt x="1219" y="1753"/>
                      <a:pt x="1169" y="1718"/>
                      <a:pt x="1121" y="1684"/>
                    </a:cubicBezTo>
                    <a:cubicBezTo>
                      <a:pt x="901" y="1527"/>
                      <a:pt x="682" y="1370"/>
                      <a:pt x="463" y="1213"/>
                    </a:cubicBezTo>
                    <a:cubicBezTo>
                      <a:pt x="431" y="1190"/>
                      <a:pt x="398" y="1167"/>
                      <a:pt x="364" y="11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81" name="Freeform 18"/>
              <p:cNvSpPr>
                <a:spLocks/>
              </p:cNvSpPr>
              <p:nvPr/>
            </p:nvSpPr>
            <p:spPr bwMode="auto">
              <a:xfrm>
                <a:off x="-4987107" y="5240689"/>
                <a:ext cx="2049460" cy="3949697"/>
              </a:xfrm>
              <a:custGeom>
                <a:avLst/>
                <a:gdLst>
                  <a:gd name="T0" fmla="*/ 546 w 2001"/>
                  <a:gd name="T1" fmla="*/ 1141 h 3858"/>
                  <a:gd name="T2" fmla="*/ 318 w 2001"/>
                  <a:gd name="T3" fmla="*/ 1263 h 3858"/>
                  <a:gd name="T4" fmla="*/ 182 w 2001"/>
                  <a:gd name="T5" fmla="*/ 1569 h 3858"/>
                  <a:gd name="T6" fmla="*/ 196 w 2001"/>
                  <a:gd name="T7" fmla="*/ 1718 h 3858"/>
                  <a:gd name="T8" fmla="*/ 285 w 2001"/>
                  <a:gd name="T9" fmla="*/ 1880 h 3858"/>
                  <a:gd name="T10" fmla="*/ 379 w 2001"/>
                  <a:gd name="T11" fmla="*/ 1981 h 3858"/>
                  <a:gd name="T12" fmla="*/ 827 w 2001"/>
                  <a:gd name="T13" fmla="*/ 2430 h 3858"/>
                  <a:gd name="T14" fmla="*/ 1002 w 2001"/>
                  <a:gd name="T15" fmla="*/ 2532 h 3858"/>
                  <a:gd name="T16" fmla="*/ 1225 w 2001"/>
                  <a:gd name="T17" fmla="*/ 2557 h 3858"/>
                  <a:gd name="T18" fmla="*/ 1217 w 2001"/>
                  <a:gd name="T19" fmla="*/ 2547 h 3858"/>
                  <a:gd name="T20" fmla="*/ 538 w 2001"/>
                  <a:gd name="T21" fmla="*/ 1873 h 3858"/>
                  <a:gd name="T22" fmla="*/ 430 w 2001"/>
                  <a:gd name="T23" fmla="*/ 1763 h 3858"/>
                  <a:gd name="T24" fmla="*/ 558 w 2001"/>
                  <a:gd name="T25" fmla="*/ 1324 h 3858"/>
                  <a:gd name="T26" fmla="*/ 831 w 2001"/>
                  <a:gd name="T27" fmla="*/ 1395 h 3858"/>
                  <a:gd name="T28" fmla="*/ 1647 w 2001"/>
                  <a:gd name="T29" fmla="*/ 2210 h 3858"/>
                  <a:gd name="T30" fmla="*/ 1881 w 2001"/>
                  <a:gd name="T31" fmla="*/ 2533 h 3858"/>
                  <a:gd name="T32" fmla="*/ 1980 w 2001"/>
                  <a:gd name="T33" fmla="*/ 2848 h 3858"/>
                  <a:gd name="T34" fmla="*/ 2000 w 2001"/>
                  <a:gd name="T35" fmla="*/ 3179 h 3858"/>
                  <a:gd name="T36" fmla="*/ 1995 w 2001"/>
                  <a:gd name="T37" fmla="*/ 3748 h 3858"/>
                  <a:gd name="T38" fmla="*/ 1995 w 2001"/>
                  <a:gd name="T39" fmla="*/ 3842 h 3858"/>
                  <a:gd name="T40" fmla="*/ 1994 w 2001"/>
                  <a:gd name="T41" fmla="*/ 3858 h 3858"/>
                  <a:gd name="T42" fmla="*/ 1091 w 2001"/>
                  <a:gd name="T43" fmla="*/ 3858 h 3858"/>
                  <a:gd name="T44" fmla="*/ 1091 w 2001"/>
                  <a:gd name="T45" fmla="*/ 3839 h 3858"/>
                  <a:gd name="T46" fmla="*/ 1091 w 2001"/>
                  <a:gd name="T47" fmla="*/ 3329 h 3858"/>
                  <a:gd name="T48" fmla="*/ 1082 w 2001"/>
                  <a:gd name="T49" fmla="*/ 3302 h 3858"/>
                  <a:gd name="T50" fmla="*/ 741 w 2001"/>
                  <a:gd name="T51" fmla="*/ 2909 h 3858"/>
                  <a:gd name="T52" fmla="*/ 448 w 2001"/>
                  <a:gd name="T53" fmla="*/ 2572 h 3858"/>
                  <a:gd name="T54" fmla="*/ 139 w 2001"/>
                  <a:gd name="T55" fmla="*/ 2225 h 3858"/>
                  <a:gd name="T56" fmla="*/ 12 w 2001"/>
                  <a:gd name="T57" fmla="*/ 1938 h 3858"/>
                  <a:gd name="T58" fmla="*/ 0 w 2001"/>
                  <a:gd name="T59" fmla="*/ 1726 h 3858"/>
                  <a:gd name="T60" fmla="*/ 0 w 2001"/>
                  <a:gd name="T61" fmla="*/ 316 h 3858"/>
                  <a:gd name="T62" fmla="*/ 184 w 2001"/>
                  <a:gd name="T63" fmla="*/ 55 h 3858"/>
                  <a:gd name="T64" fmla="*/ 542 w 2001"/>
                  <a:gd name="T65" fmla="*/ 271 h 3858"/>
                  <a:gd name="T66" fmla="*/ 546 w 2001"/>
                  <a:gd name="T67" fmla="*/ 317 h 3858"/>
                  <a:gd name="T68" fmla="*/ 546 w 2001"/>
                  <a:gd name="T69" fmla="*/ 1127 h 3858"/>
                  <a:gd name="T70" fmla="*/ 546 w 2001"/>
                  <a:gd name="T71" fmla="*/ 1141 h 385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001" h="3858">
                    <a:moveTo>
                      <a:pt x="546" y="1141"/>
                    </a:moveTo>
                    <a:cubicBezTo>
                      <a:pt x="455" y="1158"/>
                      <a:pt x="382" y="1203"/>
                      <a:pt x="318" y="1263"/>
                    </a:cubicBezTo>
                    <a:cubicBezTo>
                      <a:pt x="231" y="1346"/>
                      <a:pt x="182" y="1447"/>
                      <a:pt x="182" y="1569"/>
                    </a:cubicBezTo>
                    <a:cubicBezTo>
                      <a:pt x="182" y="1619"/>
                      <a:pt x="184" y="1669"/>
                      <a:pt x="196" y="1718"/>
                    </a:cubicBezTo>
                    <a:cubicBezTo>
                      <a:pt x="211" y="1780"/>
                      <a:pt x="243" y="1833"/>
                      <a:pt x="285" y="1880"/>
                    </a:cubicBezTo>
                    <a:cubicBezTo>
                      <a:pt x="315" y="1915"/>
                      <a:pt x="347" y="1949"/>
                      <a:pt x="379" y="1981"/>
                    </a:cubicBezTo>
                    <a:cubicBezTo>
                      <a:pt x="528" y="2131"/>
                      <a:pt x="679" y="2280"/>
                      <a:pt x="827" y="2430"/>
                    </a:cubicBezTo>
                    <a:cubicBezTo>
                      <a:pt x="877" y="2481"/>
                      <a:pt x="935" y="2514"/>
                      <a:pt x="1002" y="2532"/>
                    </a:cubicBezTo>
                    <a:cubicBezTo>
                      <a:pt x="1075" y="2551"/>
                      <a:pt x="1148" y="2559"/>
                      <a:pt x="1225" y="2557"/>
                    </a:cubicBezTo>
                    <a:cubicBezTo>
                      <a:pt x="1222" y="2553"/>
                      <a:pt x="1220" y="2550"/>
                      <a:pt x="1217" y="2547"/>
                    </a:cubicBezTo>
                    <a:cubicBezTo>
                      <a:pt x="991" y="2322"/>
                      <a:pt x="765" y="2098"/>
                      <a:pt x="538" y="1873"/>
                    </a:cubicBezTo>
                    <a:cubicBezTo>
                      <a:pt x="502" y="1836"/>
                      <a:pt x="464" y="1802"/>
                      <a:pt x="430" y="1763"/>
                    </a:cubicBezTo>
                    <a:cubicBezTo>
                      <a:pt x="299" y="1617"/>
                      <a:pt x="370" y="1377"/>
                      <a:pt x="558" y="1324"/>
                    </a:cubicBezTo>
                    <a:cubicBezTo>
                      <a:pt x="662" y="1295"/>
                      <a:pt x="755" y="1318"/>
                      <a:pt x="831" y="1395"/>
                    </a:cubicBezTo>
                    <a:cubicBezTo>
                      <a:pt x="1104" y="1666"/>
                      <a:pt x="1375" y="1938"/>
                      <a:pt x="1647" y="2210"/>
                    </a:cubicBezTo>
                    <a:cubicBezTo>
                      <a:pt x="1742" y="2305"/>
                      <a:pt x="1822" y="2412"/>
                      <a:pt x="1881" y="2533"/>
                    </a:cubicBezTo>
                    <a:cubicBezTo>
                      <a:pt x="1930" y="2633"/>
                      <a:pt x="1962" y="2738"/>
                      <a:pt x="1980" y="2848"/>
                    </a:cubicBezTo>
                    <a:cubicBezTo>
                      <a:pt x="1999" y="2958"/>
                      <a:pt x="2001" y="3068"/>
                      <a:pt x="2000" y="3179"/>
                    </a:cubicBezTo>
                    <a:cubicBezTo>
                      <a:pt x="1999" y="3369"/>
                      <a:pt x="1997" y="3558"/>
                      <a:pt x="1995" y="3748"/>
                    </a:cubicBezTo>
                    <a:cubicBezTo>
                      <a:pt x="1995" y="3779"/>
                      <a:pt x="1995" y="3811"/>
                      <a:pt x="1995" y="3842"/>
                    </a:cubicBezTo>
                    <a:cubicBezTo>
                      <a:pt x="1995" y="3847"/>
                      <a:pt x="1994" y="3852"/>
                      <a:pt x="1994" y="3858"/>
                    </a:cubicBezTo>
                    <a:cubicBezTo>
                      <a:pt x="1693" y="3858"/>
                      <a:pt x="1393" y="3858"/>
                      <a:pt x="1091" y="3858"/>
                    </a:cubicBezTo>
                    <a:cubicBezTo>
                      <a:pt x="1091" y="3851"/>
                      <a:pt x="1091" y="3845"/>
                      <a:pt x="1091" y="3839"/>
                    </a:cubicBezTo>
                    <a:cubicBezTo>
                      <a:pt x="1091" y="3669"/>
                      <a:pt x="1091" y="3499"/>
                      <a:pt x="1091" y="3329"/>
                    </a:cubicBezTo>
                    <a:cubicBezTo>
                      <a:pt x="1091" y="3318"/>
                      <a:pt x="1089" y="3310"/>
                      <a:pt x="1082" y="3302"/>
                    </a:cubicBezTo>
                    <a:cubicBezTo>
                      <a:pt x="968" y="3171"/>
                      <a:pt x="854" y="3040"/>
                      <a:pt x="741" y="2909"/>
                    </a:cubicBezTo>
                    <a:cubicBezTo>
                      <a:pt x="643" y="2796"/>
                      <a:pt x="546" y="2683"/>
                      <a:pt x="448" y="2572"/>
                    </a:cubicBezTo>
                    <a:cubicBezTo>
                      <a:pt x="346" y="2455"/>
                      <a:pt x="243" y="2339"/>
                      <a:pt x="139" y="2225"/>
                    </a:cubicBezTo>
                    <a:cubicBezTo>
                      <a:pt x="64" y="2143"/>
                      <a:pt x="25" y="2047"/>
                      <a:pt x="12" y="1938"/>
                    </a:cubicBezTo>
                    <a:cubicBezTo>
                      <a:pt x="3" y="1868"/>
                      <a:pt x="0" y="1797"/>
                      <a:pt x="0" y="1726"/>
                    </a:cubicBezTo>
                    <a:cubicBezTo>
                      <a:pt x="0" y="1256"/>
                      <a:pt x="0" y="786"/>
                      <a:pt x="0" y="316"/>
                    </a:cubicBezTo>
                    <a:cubicBezTo>
                      <a:pt x="0" y="196"/>
                      <a:pt x="73" y="93"/>
                      <a:pt x="184" y="55"/>
                    </a:cubicBezTo>
                    <a:cubicBezTo>
                      <a:pt x="345" y="0"/>
                      <a:pt x="516" y="103"/>
                      <a:pt x="542" y="271"/>
                    </a:cubicBezTo>
                    <a:cubicBezTo>
                      <a:pt x="545" y="286"/>
                      <a:pt x="546" y="302"/>
                      <a:pt x="546" y="317"/>
                    </a:cubicBezTo>
                    <a:cubicBezTo>
                      <a:pt x="546" y="587"/>
                      <a:pt x="546" y="857"/>
                      <a:pt x="546" y="1127"/>
                    </a:cubicBezTo>
                    <a:cubicBezTo>
                      <a:pt x="546" y="1131"/>
                      <a:pt x="546" y="1136"/>
                      <a:pt x="546" y="1141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82" name="Freeform 19"/>
              <p:cNvSpPr>
                <a:spLocks/>
              </p:cNvSpPr>
              <p:nvPr/>
            </p:nvSpPr>
            <p:spPr bwMode="auto">
              <a:xfrm>
                <a:off x="-2194691" y="5258149"/>
                <a:ext cx="2049460" cy="3932237"/>
              </a:xfrm>
              <a:custGeom>
                <a:avLst/>
                <a:gdLst>
                  <a:gd name="T0" fmla="*/ 909 w 2001"/>
                  <a:gd name="T1" fmla="*/ 3842 h 3842"/>
                  <a:gd name="T2" fmla="*/ 6 w 2001"/>
                  <a:gd name="T3" fmla="*/ 3842 h 3842"/>
                  <a:gd name="T4" fmla="*/ 6 w 2001"/>
                  <a:gd name="T5" fmla="*/ 3797 h 3842"/>
                  <a:gd name="T6" fmla="*/ 1 w 2001"/>
                  <a:gd name="T7" fmla="*/ 3055 h 3842"/>
                  <a:gd name="T8" fmla="*/ 81 w 2001"/>
                  <a:gd name="T9" fmla="*/ 2604 h 3842"/>
                  <a:gd name="T10" fmla="*/ 319 w 2001"/>
                  <a:gd name="T11" fmla="*/ 2230 h 3842"/>
                  <a:gd name="T12" fmla="*/ 776 w 2001"/>
                  <a:gd name="T13" fmla="*/ 1771 h 3842"/>
                  <a:gd name="T14" fmla="*/ 1166 w 2001"/>
                  <a:gd name="T15" fmla="*/ 1381 h 3842"/>
                  <a:gd name="T16" fmla="*/ 1369 w 2001"/>
                  <a:gd name="T17" fmla="*/ 1296 h 3842"/>
                  <a:gd name="T18" fmla="*/ 1635 w 2001"/>
                  <a:gd name="T19" fmla="*/ 1543 h 3842"/>
                  <a:gd name="T20" fmla="*/ 1555 w 2001"/>
                  <a:gd name="T21" fmla="*/ 1764 h 3842"/>
                  <a:gd name="T22" fmla="*/ 1161 w 2001"/>
                  <a:gd name="T23" fmla="*/ 2156 h 3842"/>
                  <a:gd name="T24" fmla="*/ 783 w 2001"/>
                  <a:gd name="T25" fmla="*/ 2531 h 3842"/>
                  <a:gd name="T26" fmla="*/ 774 w 2001"/>
                  <a:gd name="T27" fmla="*/ 2541 h 3842"/>
                  <a:gd name="T28" fmla="*/ 825 w 2001"/>
                  <a:gd name="T29" fmla="*/ 2541 h 3842"/>
                  <a:gd name="T30" fmla="*/ 1040 w 2001"/>
                  <a:gd name="T31" fmla="*/ 2502 h 3842"/>
                  <a:gd name="T32" fmla="*/ 1166 w 2001"/>
                  <a:gd name="T33" fmla="*/ 2421 h 3842"/>
                  <a:gd name="T34" fmla="*/ 1650 w 2001"/>
                  <a:gd name="T35" fmla="*/ 1937 h 3842"/>
                  <a:gd name="T36" fmla="*/ 1765 w 2001"/>
                  <a:gd name="T37" fmla="*/ 1796 h 3842"/>
                  <a:gd name="T38" fmla="*/ 1814 w 2001"/>
                  <a:gd name="T39" fmla="*/ 1640 h 3842"/>
                  <a:gd name="T40" fmla="*/ 1816 w 2001"/>
                  <a:gd name="T41" fmla="*/ 1512 h 3842"/>
                  <a:gd name="T42" fmla="*/ 1721 w 2001"/>
                  <a:gd name="T43" fmla="*/ 1288 h 3842"/>
                  <a:gd name="T44" fmla="*/ 1501 w 2001"/>
                  <a:gd name="T45" fmla="*/ 1136 h 3842"/>
                  <a:gd name="T46" fmla="*/ 1456 w 2001"/>
                  <a:gd name="T47" fmla="*/ 1125 h 3842"/>
                  <a:gd name="T48" fmla="*/ 1455 w 2001"/>
                  <a:gd name="T49" fmla="*/ 1111 h 3842"/>
                  <a:gd name="T50" fmla="*/ 1455 w 2001"/>
                  <a:gd name="T51" fmla="*/ 291 h 3842"/>
                  <a:gd name="T52" fmla="*/ 1672 w 2001"/>
                  <a:gd name="T53" fmla="*/ 30 h 3842"/>
                  <a:gd name="T54" fmla="*/ 1997 w 2001"/>
                  <a:gd name="T55" fmla="*/ 253 h 3842"/>
                  <a:gd name="T56" fmla="*/ 2000 w 2001"/>
                  <a:gd name="T57" fmla="*/ 304 h 3842"/>
                  <a:gd name="T58" fmla="*/ 2000 w 2001"/>
                  <a:gd name="T59" fmla="*/ 1717 h 3842"/>
                  <a:gd name="T60" fmla="*/ 1983 w 2001"/>
                  <a:gd name="T61" fmla="*/ 1962 h 3842"/>
                  <a:gd name="T62" fmla="*/ 1852 w 2001"/>
                  <a:gd name="T63" fmla="*/ 2220 h 3842"/>
                  <a:gd name="T64" fmla="*/ 1360 w 2001"/>
                  <a:gd name="T65" fmla="*/ 2777 h 3842"/>
                  <a:gd name="T66" fmla="*/ 920 w 2001"/>
                  <a:gd name="T67" fmla="*/ 3284 h 3842"/>
                  <a:gd name="T68" fmla="*/ 909 w 2001"/>
                  <a:gd name="T69" fmla="*/ 3314 h 3842"/>
                  <a:gd name="T70" fmla="*/ 909 w 2001"/>
                  <a:gd name="T71" fmla="*/ 3823 h 3842"/>
                  <a:gd name="T72" fmla="*/ 909 w 2001"/>
                  <a:gd name="T73" fmla="*/ 3842 h 384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2001" h="3842">
                    <a:moveTo>
                      <a:pt x="909" y="3842"/>
                    </a:moveTo>
                    <a:cubicBezTo>
                      <a:pt x="608" y="3842"/>
                      <a:pt x="308" y="3842"/>
                      <a:pt x="6" y="3842"/>
                    </a:cubicBezTo>
                    <a:cubicBezTo>
                      <a:pt x="6" y="3827"/>
                      <a:pt x="6" y="3812"/>
                      <a:pt x="6" y="3797"/>
                    </a:cubicBezTo>
                    <a:cubicBezTo>
                      <a:pt x="4" y="3550"/>
                      <a:pt x="0" y="3302"/>
                      <a:pt x="1" y="3055"/>
                    </a:cubicBezTo>
                    <a:cubicBezTo>
                      <a:pt x="1" y="2900"/>
                      <a:pt x="26" y="2749"/>
                      <a:pt x="81" y="2604"/>
                    </a:cubicBezTo>
                    <a:cubicBezTo>
                      <a:pt x="135" y="2464"/>
                      <a:pt x="214" y="2338"/>
                      <a:pt x="319" y="2230"/>
                    </a:cubicBezTo>
                    <a:cubicBezTo>
                      <a:pt x="470" y="2076"/>
                      <a:pt x="624" y="1924"/>
                      <a:pt x="776" y="1771"/>
                    </a:cubicBezTo>
                    <a:cubicBezTo>
                      <a:pt x="906" y="1641"/>
                      <a:pt x="1036" y="1511"/>
                      <a:pt x="1166" y="1381"/>
                    </a:cubicBezTo>
                    <a:cubicBezTo>
                      <a:pt x="1222" y="1324"/>
                      <a:pt x="1290" y="1296"/>
                      <a:pt x="1369" y="1296"/>
                    </a:cubicBezTo>
                    <a:cubicBezTo>
                      <a:pt x="1507" y="1298"/>
                      <a:pt x="1623" y="1406"/>
                      <a:pt x="1635" y="1543"/>
                    </a:cubicBezTo>
                    <a:cubicBezTo>
                      <a:pt x="1643" y="1629"/>
                      <a:pt x="1616" y="1703"/>
                      <a:pt x="1555" y="1764"/>
                    </a:cubicBezTo>
                    <a:cubicBezTo>
                      <a:pt x="1424" y="1895"/>
                      <a:pt x="1293" y="2025"/>
                      <a:pt x="1161" y="2156"/>
                    </a:cubicBezTo>
                    <a:cubicBezTo>
                      <a:pt x="1035" y="2281"/>
                      <a:pt x="909" y="2406"/>
                      <a:pt x="783" y="2531"/>
                    </a:cubicBezTo>
                    <a:cubicBezTo>
                      <a:pt x="781" y="2533"/>
                      <a:pt x="779" y="2536"/>
                      <a:pt x="774" y="2541"/>
                    </a:cubicBezTo>
                    <a:cubicBezTo>
                      <a:pt x="793" y="2541"/>
                      <a:pt x="809" y="2542"/>
                      <a:pt x="825" y="2541"/>
                    </a:cubicBezTo>
                    <a:cubicBezTo>
                      <a:pt x="898" y="2538"/>
                      <a:pt x="971" y="2528"/>
                      <a:pt x="1040" y="2502"/>
                    </a:cubicBezTo>
                    <a:cubicBezTo>
                      <a:pt x="1088" y="2484"/>
                      <a:pt x="1130" y="2458"/>
                      <a:pt x="1166" y="2421"/>
                    </a:cubicBezTo>
                    <a:cubicBezTo>
                      <a:pt x="1327" y="2259"/>
                      <a:pt x="1489" y="2099"/>
                      <a:pt x="1650" y="1937"/>
                    </a:cubicBezTo>
                    <a:cubicBezTo>
                      <a:pt x="1693" y="1894"/>
                      <a:pt x="1733" y="1848"/>
                      <a:pt x="1765" y="1796"/>
                    </a:cubicBezTo>
                    <a:cubicBezTo>
                      <a:pt x="1795" y="1748"/>
                      <a:pt x="1810" y="1696"/>
                      <a:pt x="1814" y="1640"/>
                    </a:cubicBezTo>
                    <a:cubicBezTo>
                      <a:pt x="1818" y="1598"/>
                      <a:pt x="1819" y="1554"/>
                      <a:pt x="1816" y="1512"/>
                    </a:cubicBezTo>
                    <a:cubicBezTo>
                      <a:pt x="1809" y="1427"/>
                      <a:pt x="1775" y="1353"/>
                      <a:pt x="1721" y="1288"/>
                    </a:cubicBezTo>
                    <a:cubicBezTo>
                      <a:pt x="1661" y="1218"/>
                      <a:pt x="1589" y="1165"/>
                      <a:pt x="1501" y="1136"/>
                    </a:cubicBezTo>
                    <a:cubicBezTo>
                      <a:pt x="1486" y="1131"/>
                      <a:pt x="1472" y="1129"/>
                      <a:pt x="1456" y="1125"/>
                    </a:cubicBezTo>
                    <a:cubicBezTo>
                      <a:pt x="1456" y="1121"/>
                      <a:pt x="1455" y="1116"/>
                      <a:pt x="1455" y="1111"/>
                    </a:cubicBezTo>
                    <a:cubicBezTo>
                      <a:pt x="1455" y="838"/>
                      <a:pt x="1455" y="564"/>
                      <a:pt x="1455" y="291"/>
                    </a:cubicBezTo>
                    <a:cubicBezTo>
                      <a:pt x="1455" y="167"/>
                      <a:pt x="1550" y="53"/>
                      <a:pt x="1672" y="30"/>
                    </a:cubicBezTo>
                    <a:cubicBezTo>
                      <a:pt x="1827" y="0"/>
                      <a:pt x="1969" y="98"/>
                      <a:pt x="1997" y="253"/>
                    </a:cubicBezTo>
                    <a:cubicBezTo>
                      <a:pt x="2000" y="270"/>
                      <a:pt x="2000" y="287"/>
                      <a:pt x="2000" y="304"/>
                    </a:cubicBezTo>
                    <a:cubicBezTo>
                      <a:pt x="2001" y="775"/>
                      <a:pt x="2001" y="1246"/>
                      <a:pt x="2000" y="1717"/>
                    </a:cubicBezTo>
                    <a:cubicBezTo>
                      <a:pt x="2000" y="1799"/>
                      <a:pt x="1996" y="1881"/>
                      <a:pt x="1983" y="1962"/>
                    </a:cubicBezTo>
                    <a:cubicBezTo>
                      <a:pt x="1966" y="2061"/>
                      <a:pt x="1920" y="2145"/>
                      <a:pt x="1852" y="2220"/>
                    </a:cubicBezTo>
                    <a:cubicBezTo>
                      <a:pt x="1687" y="2404"/>
                      <a:pt x="1523" y="2590"/>
                      <a:pt x="1360" y="2777"/>
                    </a:cubicBezTo>
                    <a:cubicBezTo>
                      <a:pt x="1213" y="2945"/>
                      <a:pt x="1067" y="3115"/>
                      <a:pt x="920" y="3284"/>
                    </a:cubicBezTo>
                    <a:cubicBezTo>
                      <a:pt x="912" y="3293"/>
                      <a:pt x="909" y="3302"/>
                      <a:pt x="909" y="3314"/>
                    </a:cubicBezTo>
                    <a:cubicBezTo>
                      <a:pt x="909" y="3483"/>
                      <a:pt x="909" y="3653"/>
                      <a:pt x="909" y="3823"/>
                    </a:cubicBezTo>
                    <a:cubicBezTo>
                      <a:pt x="909" y="3829"/>
                      <a:pt x="909" y="3835"/>
                      <a:pt x="909" y="38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83" name="Группа 45"/>
          <p:cNvGrpSpPr/>
          <p:nvPr/>
        </p:nvGrpSpPr>
        <p:grpSpPr>
          <a:xfrm>
            <a:off x="6372200" y="1484784"/>
            <a:ext cx="2509799" cy="2246084"/>
            <a:chOff x="132904" y="4754736"/>
            <a:chExt cx="2081088" cy="1512168"/>
          </a:xfrm>
        </p:grpSpPr>
        <p:sp>
          <p:nvSpPr>
            <p:cNvPr id="84" name="Скругленный прямоугольник 83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E29C9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85" name="Прямоугольник 84"/>
            <p:cNvSpPr/>
            <p:nvPr/>
          </p:nvSpPr>
          <p:spPr>
            <a:xfrm>
              <a:off x="132904" y="4856460"/>
              <a:ext cx="2081088" cy="66255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 ветеранов, инвалидов, граждан</a:t>
              </a:r>
              <a:r>
                <a:rPr lang="en-US" dirty="0" smtClean="0"/>
                <a:t> </a:t>
              </a:r>
              <a:r>
                <a:rPr lang="ru-RU" dirty="0" smtClean="0"/>
                <a:t>пожилого возраста </a:t>
              </a:r>
              <a:endParaRPr lang="ru-RU" dirty="0"/>
            </a:p>
          </p:txBody>
        </p:sp>
        <p:sp>
          <p:nvSpPr>
            <p:cNvPr id="86" name="Скругленный прямоугольник 85"/>
            <p:cNvSpPr/>
            <p:nvPr/>
          </p:nvSpPr>
          <p:spPr>
            <a:xfrm>
              <a:off x="635392" y="5737990"/>
              <a:ext cx="1015144" cy="314993"/>
            </a:xfrm>
            <a:prstGeom prst="roundRect">
              <a:avLst>
                <a:gd name="adj" fmla="val 31566"/>
              </a:avLst>
            </a:prstGeom>
            <a:solidFill>
              <a:srgbClr val="CC535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142,5</a:t>
              </a:r>
              <a:endParaRPr lang="ru-RU" dirty="0"/>
            </a:p>
          </p:txBody>
        </p:sp>
      </p:grpSp>
      <p:cxnSp>
        <p:nvCxnSpPr>
          <p:cNvPr id="87" name="Прямая соединительная линия 86"/>
          <p:cNvCxnSpPr/>
          <p:nvPr/>
        </p:nvCxnSpPr>
        <p:spPr>
          <a:xfrm flipV="1">
            <a:off x="5715008" y="1858952"/>
            <a:ext cx="714380" cy="641354"/>
          </a:xfrm>
          <a:prstGeom prst="line">
            <a:avLst/>
          </a:prstGeom>
          <a:ln w="82550" cap="rnd">
            <a:solidFill>
              <a:srgbClr val="E29C9A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8" name="Группа 22"/>
          <p:cNvGrpSpPr/>
          <p:nvPr/>
        </p:nvGrpSpPr>
        <p:grpSpPr>
          <a:xfrm>
            <a:off x="2857488" y="3071810"/>
            <a:ext cx="1009476" cy="1285884"/>
            <a:chOff x="6763979" y="3789040"/>
            <a:chExt cx="1060216" cy="1067082"/>
          </a:xfrm>
        </p:grpSpPr>
        <p:sp>
          <p:nvSpPr>
            <p:cNvPr id="89" name="Прямоугольник 88"/>
            <p:cNvSpPr/>
            <p:nvPr/>
          </p:nvSpPr>
          <p:spPr>
            <a:xfrm>
              <a:off x="6851630" y="4424074"/>
              <a:ext cx="952507" cy="432048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>
              <a:lvl1pPr marL="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ru-RU" sz="1600" b="1" dirty="0" smtClean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48%</a:t>
              </a:r>
            </a:p>
          </p:txBody>
        </p:sp>
        <p:grpSp>
          <p:nvGrpSpPr>
            <p:cNvPr id="90" name="Группа 34"/>
            <p:cNvGrpSpPr/>
            <p:nvPr/>
          </p:nvGrpSpPr>
          <p:grpSpPr>
            <a:xfrm>
              <a:off x="6763979" y="3789040"/>
              <a:ext cx="1060216" cy="635035"/>
              <a:chOff x="9426304" y="3495733"/>
              <a:chExt cx="1844676" cy="147320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91" name="Freeform 27"/>
              <p:cNvSpPr>
                <a:spLocks/>
              </p:cNvSpPr>
              <p:nvPr/>
            </p:nvSpPr>
            <p:spPr bwMode="auto">
              <a:xfrm>
                <a:off x="9426304" y="3795771"/>
                <a:ext cx="765176" cy="1173162"/>
              </a:xfrm>
              <a:custGeom>
                <a:avLst/>
                <a:gdLst>
                  <a:gd name="T0" fmla="*/ 674 w 991"/>
                  <a:gd name="T1" fmla="*/ 344 h 1522"/>
                  <a:gd name="T2" fmla="*/ 674 w 991"/>
                  <a:gd name="T3" fmla="*/ 369 h 1522"/>
                  <a:gd name="T4" fmla="*/ 689 w 991"/>
                  <a:gd name="T5" fmla="*/ 1244 h 1522"/>
                  <a:gd name="T6" fmla="*/ 691 w 991"/>
                  <a:gd name="T7" fmla="*/ 1412 h 1522"/>
                  <a:gd name="T8" fmla="*/ 603 w 991"/>
                  <a:gd name="T9" fmla="*/ 1502 h 1522"/>
                  <a:gd name="T10" fmla="*/ 512 w 991"/>
                  <a:gd name="T11" fmla="*/ 1417 h 1522"/>
                  <a:gd name="T12" fmla="*/ 512 w 991"/>
                  <a:gd name="T13" fmla="*/ 1215 h 1522"/>
                  <a:gd name="T14" fmla="*/ 506 w 991"/>
                  <a:gd name="T15" fmla="*/ 833 h 1522"/>
                  <a:gd name="T16" fmla="*/ 495 w 991"/>
                  <a:gd name="T17" fmla="*/ 749 h 1522"/>
                  <a:gd name="T18" fmla="*/ 485 w 991"/>
                  <a:gd name="T19" fmla="*/ 749 h 1522"/>
                  <a:gd name="T20" fmla="*/ 476 w 991"/>
                  <a:gd name="T21" fmla="*/ 793 h 1522"/>
                  <a:gd name="T22" fmla="*/ 465 w 991"/>
                  <a:gd name="T23" fmla="*/ 1107 h 1522"/>
                  <a:gd name="T24" fmla="*/ 466 w 991"/>
                  <a:gd name="T25" fmla="*/ 1409 h 1522"/>
                  <a:gd name="T26" fmla="*/ 336 w 991"/>
                  <a:gd name="T27" fmla="*/ 1493 h 1522"/>
                  <a:gd name="T28" fmla="*/ 287 w 991"/>
                  <a:gd name="T29" fmla="*/ 1412 h 1522"/>
                  <a:gd name="T30" fmla="*/ 290 w 991"/>
                  <a:gd name="T31" fmla="*/ 1102 h 1522"/>
                  <a:gd name="T32" fmla="*/ 304 w 991"/>
                  <a:gd name="T33" fmla="*/ 359 h 1522"/>
                  <a:gd name="T34" fmla="*/ 300 w 991"/>
                  <a:gd name="T35" fmla="*/ 341 h 1522"/>
                  <a:gd name="T36" fmla="*/ 249 w 991"/>
                  <a:gd name="T37" fmla="*/ 420 h 1522"/>
                  <a:gd name="T38" fmla="*/ 130 w 991"/>
                  <a:gd name="T39" fmla="*/ 605 h 1522"/>
                  <a:gd name="T40" fmla="*/ 64 w 991"/>
                  <a:gd name="T41" fmla="*/ 642 h 1522"/>
                  <a:gd name="T42" fmla="*/ 3 w 991"/>
                  <a:gd name="T43" fmla="*/ 592 h 1522"/>
                  <a:gd name="T44" fmla="*/ 9 w 991"/>
                  <a:gd name="T45" fmla="*/ 543 h 1522"/>
                  <a:gd name="T46" fmla="*/ 235 w 991"/>
                  <a:gd name="T47" fmla="*/ 131 h 1522"/>
                  <a:gd name="T48" fmla="*/ 273 w 991"/>
                  <a:gd name="T49" fmla="*/ 77 h 1522"/>
                  <a:gd name="T50" fmla="*/ 432 w 991"/>
                  <a:gd name="T51" fmla="*/ 10 h 1522"/>
                  <a:gd name="T52" fmla="*/ 537 w 991"/>
                  <a:gd name="T53" fmla="*/ 11 h 1522"/>
                  <a:gd name="T54" fmla="*/ 715 w 991"/>
                  <a:gd name="T55" fmla="*/ 91 h 1522"/>
                  <a:gd name="T56" fmla="*/ 827 w 991"/>
                  <a:gd name="T57" fmla="*/ 283 h 1522"/>
                  <a:gd name="T58" fmla="*/ 966 w 991"/>
                  <a:gd name="T59" fmla="*/ 539 h 1522"/>
                  <a:gd name="T60" fmla="*/ 922 w 991"/>
                  <a:gd name="T61" fmla="*/ 640 h 1522"/>
                  <a:gd name="T62" fmla="*/ 851 w 991"/>
                  <a:gd name="T63" fmla="*/ 610 h 1522"/>
                  <a:gd name="T64" fmla="*/ 695 w 991"/>
                  <a:gd name="T65" fmla="*/ 367 h 1522"/>
                  <a:gd name="T66" fmla="*/ 679 w 991"/>
                  <a:gd name="T67" fmla="*/ 343 h 1522"/>
                  <a:gd name="T68" fmla="*/ 674 w 991"/>
                  <a:gd name="T69" fmla="*/ 344 h 152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991" h="1522">
                    <a:moveTo>
                      <a:pt x="674" y="344"/>
                    </a:moveTo>
                    <a:cubicBezTo>
                      <a:pt x="674" y="352"/>
                      <a:pt x="674" y="360"/>
                      <a:pt x="674" y="369"/>
                    </a:cubicBezTo>
                    <a:cubicBezTo>
                      <a:pt x="679" y="661"/>
                      <a:pt x="684" y="952"/>
                      <a:pt x="689" y="1244"/>
                    </a:cubicBezTo>
                    <a:cubicBezTo>
                      <a:pt x="690" y="1300"/>
                      <a:pt x="691" y="1356"/>
                      <a:pt x="691" y="1412"/>
                    </a:cubicBezTo>
                    <a:cubicBezTo>
                      <a:pt x="691" y="1464"/>
                      <a:pt x="655" y="1501"/>
                      <a:pt x="603" y="1502"/>
                    </a:cubicBezTo>
                    <a:cubicBezTo>
                      <a:pt x="553" y="1504"/>
                      <a:pt x="513" y="1468"/>
                      <a:pt x="512" y="1417"/>
                    </a:cubicBezTo>
                    <a:cubicBezTo>
                      <a:pt x="510" y="1349"/>
                      <a:pt x="513" y="1282"/>
                      <a:pt x="512" y="1215"/>
                    </a:cubicBezTo>
                    <a:cubicBezTo>
                      <a:pt x="511" y="1088"/>
                      <a:pt x="509" y="960"/>
                      <a:pt x="506" y="833"/>
                    </a:cubicBezTo>
                    <a:cubicBezTo>
                      <a:pt x="505" y="805"/>
                      <a:pt x="499" y="777"/>
                      <a:pt x="495" y="749"/>
                    </a:cubicBezTo>
                    <a:cubicBezTo>
                      <a:pt x="492" y="749"/>
                      <a:pt x="488" y="749"/>
                      <a:pt x="485" y="749"/>
                    </a:cubicBezTo>
                    <a:cubicBezTo>
                      <a:pt x="482" y="764"/>
                      <a:pt x="476" y="778"/>
                      <a:pt x="476" y="793"/>
                    </a:cubicBezTo>
                    <a:cubicBezTo>
                      <a:pt x="471" y="898"/>
                      <a:pt x="467" y="1002"/>
                      <a:pt x="465" y="1107"/>
                    </a:cubicBezTo>
                    <a:cubicBezTo>
                      <a:pt x="464" y="1207"/>
                      <a:pt x="467" y="1308"/>
                      <a:pt x="466" y="1409"/>
                    </a:cubicBezTo>
                    <a:cubicBezTo>
                      <a:pt x="466" y="1481"/>
                      <a:pt x="402" y="1522"/>
                      <a:pt x="336" y="1493"/>
                    </a:cubicBezTo>
                    <a:cubicBezTo>
                      <a:pt x="301" y="1477"/>
                      <a:pt x="287" y="1449"/>
                      <a:pt x="287" y="1412"/>
                    </a:cubicBezTo>
                    <a:cubicBezTo>
                      <a:pt x="288" y="1309"/>
                      <a:pt x="289" y="1206"/>
                      <a:pt x="290" y="1102"/>
                    </a:cubicBezTo>
                    <a:cubicBezTo>
                      <a:pt x="295" y="854"/>
                      <a:pt x="300" y="607"/>
                      <a:pt x="304" y="359"/>
                    </a:cubicBezTo>
                    <a:cubicBezTo>
                      <a:pt x="304" y="353"/>
                      <a:pt x="304" y="347"/>
                      <a:pt x="300" y="341"/>
                    </a:cubicBezTo>
                    <a:cubicBezTo>
                      <a:pt x="283" y="367"/>
                      <a:pt x="266" y="394"/>
                      <a:pt x="249" y="420"/>
                    </a:cubicBezTo>
                    <a:cubicBezTo>
                      <a:pt x="209" y="482"/>
                      <a:pt x="169" y="544"/>
                      <a:pt x="130" y="605"/>
                    </a:cubicBezTo>
                    <a:cubicBezTo>
                      <a:pt x="115" y="630"/>
                      <a:pt x="93" y="645"/>
                      <a:pt x="64" y="642"/>
                    </a:cubicBezTo>
                    <a:cubicBezTo>
                      <a:pt x="34" y="638"/>
                      <a:pt x="9" y="623"/>
                      <a:pt x="3" y="592"/>
                    </a:cubicBezTo>
                    <a:cubicBezTo>
                      <a:pt x="0" y="577"/>
                      <a:pt x="2" y="557"/>
                      <a:pt x="9" y="543"/>
                    </a:cubicBezTo>
                    <a:cubicBezTo>
                      <a:pt x="84" y="405"/>
                      <a:pt x="159" y="268"/>
                      <a:pt x="235" y="131"/>
                    </a:cubicBezTo>
                    <a:cubicBezTo>
                      <a:pt x="246" y="112"/>
                      <a:pt x="259" y="95"/>
                      <a:pt x="273" y="77"/>
                    </a:cubicBezTo>
                    <a:cubicBezTo>
                      <a:pt x="313" y="25"/>
                      <a:pt x="365" y="2"/>
                      <a:pt x="432" y="10"/>
                    </a:cubicBezTo>
                    <a:cubicBezTo>
                      <a:pt x="467" y="14"/>
                      <a:pt x="503" y="16"/>
                      <a:pt x="537" y="11"/>
                    </a:cubicBezTo>
                    <a:cubicBezTo>
                      <a:pt x="615" y="0"/>
                      <a:pt x="674" y="27"/>
                      <a:pt x="715" y="91"/>
                    </a:cubicBezTo>
                    <a:cubicBezTo>
                      <a:pt x="755" y="153"/>
                      <a:pt x="791" y="218"/>
                      <a:pt x="827" y="283"/>
                    </a:cubicBezTo>
                    <a:cubicBezTo>
                      <a:pt x="874" y="367"/>
                      <a:pt x="920" y="453"/>
                      <a:pt x="966" y="539"/>
                    </a:cubicBezTo>
                    <a:cubicBezTo>
                      <a:pt x="991" y="584"/>
                      <a:pt x="972" y="628"/>
                      <a:pt x="922" y="640"/>
                    </a:cubicBezTo>
                    <a:cubicBezTo>
                      <a:pt x="895" y="647"/>
                      <a:pt x="868" y="637"/>
                      <a:pt x="851" y="610"/>
                    </a:cubicBezTo>
                    <a:cubicBezTo>
                      <a:pt x="799" y="529"/>
                      <a:pt x="747" y="448"/>
                      <a:pt x="695" y="367"/>
                    </a:cubicBezTo>
                    <a:cubicBezTo>
                      <a:pt x="689" y="359"/>
                      <a:pt x="684" y="351"/>
                      <a:pt x="679" y="343"/>
                    </a:cubicBezTo>
                    <a:cubicBezTo>
                      <a:pt x="677" y="343"/>
                      <a:pt x="676" y="343"/>
                      <a:pt x="674" y="34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2" name="Freeform 28"/>
              <p:cNvSpPr>
                <a:spLocks/>
              </p:cNvSpPr>
              <p:nvPr/>
            </p:nvSpPr>
            <p:spPr bwMode="auto">
              <a:xfrm>
                <a:off x="10547080" y="3856092"/>
                <a:ext cx="723900" cy="1100136"/>
              </a:xfrm>
              <a:custGeom>
                <a:avLst/>
                <a:gdLst>
                  <a:gd name="T0" fmla="*/ 303 w 937"/>
                  <a:gd name="T1" fmla="*/ 263 h 1426"/>
                  <a:gd name="T2" fmla="*/ 243 w 937"/>
                  <a:gd name="T3" fmla="*/ 366 h 1426"/>
                  <a:gd name="T4" fmla="*/ 121 w 937"/>
                  <a:gd name="T5" fmla="*/ 575 h 1426"/>
                  <a:gd name="T6" fmla="*/ 57 w 937"/>
                  <a:gd name="T7" fmla="*/ 606 h 1426"/>
                  <a:gd name="T8" fmla="*/ 1 w 937"/>
                  <a:gd name="T9" fmla="*/ 552 h 1426"/>
                  <a:gd name="T10" fmla="*/ 9 w 937"/>
                  <a:gd name="T11" fmla="*/ 512 h 1426"/>
                  <a:gd name="T12" fmla="*/ 257 w 937"/>
                  <a:gd name="T13" fmla="*/ 94 h 1426"/>
                  <a:gd name="T14" fmla="*/ 341 w 937"/>
                  <a:gd name="T15" fmla="*/ 15 h 1426"/>
                  <a:gd name="T16" fmla="*/ 401 w 937"/>
                  <a:gd name="T17" fmla="*/ 6 h 1426"/>
                  <a:gd name="T18" fmla="*/ 515 w 937"/>
                  <a:gd name="T19" fmla="*/ 5 h 1426"/>
                  <a:gd name="T20" fmla="*/ 640 w 937"/>
                  <a:gd name="T21" fmla="*/ 56 h 1426"/>
                  <a:gd name="T22" fmla="*/ 728 w 937"/>
                  <a:gd name="T23" fmla="*/ 191 h 1426"/>
                  <a:gd name="T24" fmla="*/ 915 w 937"/>
                  <a:gd name="T25" fmla="*/ 505 h 1426"/>
                  <a:gd name="T26" fmla="*/ 895 w 937"/>
                  <a:gd name="T27" fmla="*/ 597 h 1426"/>
                  <a:gd name="T28" fmla="*/ 805 w 937"/>
                  <a:gd name="T29" fmla="*/ 572 h 1426"/>
                  <a:gd name="T30" fmla="*/ 631 w 937"/>
                  <a:gd name="T31" fmla="*/ 276 h 1426"/>
                  <a:gd name="T32" fmla="*/ 620 w 937"/>
                  <a:gd name="T33" fmla="*/ 260 h 1426"/>
                  <a:gd name="T34" fmla="*/ 615 w 937"/>
                  <a:gd name="T35" fmla="*/ 432 h 1426"/>
                  <a:gd name="T36" fmla="*/ 728 w 937"/>
                  <a:gd name="T37" fmla="*/ 756 h 1426"/>
                  <a:gd name="T38" fmla="*/ 698 w 937"/>
                  <a:gd name="T39" fmla="*/ 814 h 1426"/>
                  <a:gd name="T40" fmla="*/ 622 w 937"/>
                  <a:gd name="T41" fmla="*/ 814 h 1426"/>
                  <a:gd name="T42" fmla="*/ 622 w 937"/>
                  <a:gd name="T43" fmla="*/ 838 h 1426"/>
                  <a:gd name="T44" fmla="*/ 629 w 937"/>
                  <a:gd name="T45" fmla="*/ 1336 h 1426"/>
                  <a:gd name="T46" fmla="*/ 621 w 937"/>
                  <a:gd name="T47" fmla="*/ 1381 h 1426"/>
                  <a:gd name="T48" fmla="*/ 564 w 937"/>
                  <a:gd name="T49" fmla="*/ 1423 h 1426"/>
                  <a:gd name="T50" fmla="*/ 506 w 937"/>
                  <a:gd name="T51" fmla="*/ 1382 h 1426"/>
                  <a:gd name="T52" fmla="*/ 496 w 937"/>
                  <a:gd name="T53" fmla="*/ 1321 h 1426"/>
                  <a:gd name="T54" fmla="*/ 494 w 937"/>
                  <a:gd name="T55" fmla="*/ 841 h 1426"/>
                  <a:gd name="T56" fmla="*/ 494 w 937"/>
                  <a:gd name="T57" fmla="*/ 816 h 1426"/>
                  <a:gd name="T58" fmla="*/ 442 w 937"/>
                  <a:gd name="T59" fmla="*/ 817 h 1426"/>
                  <a:gd name="T60" fmla="*/ 433 w 937"/>
                  <a:gd name="T61" fmla="*/ 834 h 1426"/>
                  <a:gd name="T62" fmla="*/ 430 w 937"/>
                  <a:gd name="T63" fmla="*/ 1046 h 1426"/>
                  <a:gd name="T64" fmla="*/ 431 w 937"/>
                  <a:gd name="T65" fmla="*/ 1331 h 1426"/>
                  <a:gd name="T66" fmla="*/ 414 w 937"/>
                  <a:gd name="T67" fmla="*/ 1394 h 1426"/>
                  <a:gd name="T68" fmla="*/ 357 w 937"/>
                  <a:gd name="T69" fmla="*/ 1422 h 1426"/>
                  <a:gd name="T70" fmla="*/ 306 w 937"/>
                  <a:gd name="T71" fmla="*/ 1380 h 1426"/>
                  <a:gd name="T72" fmla="*/ 298 w 937"/>
                  <a:gd name="T73" fmla="*/ 1314 h 1426"/>
                  <a:gd name="T74" fmla="*/ 306 w 937"/>
                  <a:gd name="T75" fmla="*/ 842 h 1426"/>
                  <a:gd name="T76" fmla="*/ 306 w 937"/>
                  <a:gd name="T77" fmla="*/ 817 h 1426"/>
                  <a:gd name="T78" fmla="*/ 224 w 937"/>
                  <a:gd name="T79" fmla="*/ 813 h 1426"/>
                  <a:gd name="T80" fmla="*/ 197 w 937"/>
                  <a:gd name="T81" fmla="*/ 759 h 1426"/>
                  <a:gd name="T82" fmla="*/ 280 w 937"/>
                  <a:gd name="T83" fmla="*/ 578 h 1426"/>
                  <a:gd name="T84" fmla="*/ 310 w 937"/>
                  <a:gd name="T85" fmla="*/ 274 h 1426"/>
                  <a:gd name="T86" fmla="*/ 308 w 937"/>
                  <a:gd name="T87" fmla="*/ 265 h 1426"/>
                  <a:gd name="T88" fmla="*/ 303 w 937"/>
                  <a:gd name="T89" fmla="*/ 263 h 142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</a:cxnLst>
                <a:rect l="0" t="0" r="r" b="b"/>
                <a:pathLst>
                  <a:path w="937" h="1426">
                    <a:moveTo>
                      <a:pt x="303" y="263"/>
                    </a:moveTo>
                    <a:cubicBezTo>
                      <a:pt x="283" y="298"/>
                      <a:pt x="263" y="332"/>
                      <a:pt x="243" y="366"/>
                    </a:cubicBezTo>
                    <a:cubicBezTo>
                      <a:pt x="202" y="436"/>
                      <a:pt x="162" y="505"/>
                      <a:pt x="121" y="575"/>
                    </a:cubicBezTo>
                    <a:cubicBezTo>
                      <a:pt x="106" y="600"/>
                      <a:pt x="82" y="611"/>
                      <a:pt x="57" y="606"/>
                    </a:cubicBezTo>
                    <a:cubicBezTo>
                      <a:pt x="27" y="600"/>
                      <a:pt x="4" y="580"/>
                      <a:pt x="1" y="552"/>
                    </a:cubicBezTo>
                    <a:cubicBezTo>
                      <a:pt x="0" y="539"/>
                      <a:pt x="2" y="523"/>
                      <a:pt x="9" y="512"/>
                    </a:cubicBezTo>
                    <a:cubicBezTo>
                      <a:pt x="91" y="372"/>
                      <a:pt x="173" y="233"/>
                      <a:pt x="257" y="94"/>
                    </a:cubicBezTo>
                    <a:cubicBezTo>
                      <a:pt x="277" y="61"/>
                      <a:pt x="302" y="29"/>
                      <a:pt x="341" y="15"/>
                    </a:cubicBezTo>
                    <a:cubicBezTo>
                      <a:pt x="360" y="8"/>
                      <a:pt x="381" y="6"/>
                      <a:pt x="401" y="6"/>
                    </a:cubicBezTo>
                    <a:cubicBezTo>
                      <a:pt x="439" y="5"/>
                      <a:pt x="477" y="10"/>
                      <a:pt x="515" y="5"/>
                    </a:cubicBezTo>
                    <a:cubicBezTo>
                      <a:pt x="567" y="0"/>
                      <a:pt x="610" y="16"/>
                      <a:pt x="640" y="56"/>
                    </a:cubicBezTo>
                    <a:cubicBezTo>
                      <a:pt x="672" y="99"/>
                      <a:pt x="700" y="145"/>
                      <a:pt x="728" y="191"/>
                    </a:cubicBezTo>
                    <a:cubicBezTo>
                      <a:pt x="791" y="295"/>
                      <a:pt x="853" y="400"/>
                      <a:pt x="915" y="505"/>
                    </a:cubicBezTo>
                    <a:cubicBezTo>
                      <a:pt x="937" y="541"/>
                      <a:pt x="928" y="577"/>
                      <a:pt x="895" y="597"/>
                    </a:cubicBezTo>
                    <a:cubicBezTo>
                      <a:pt x="860" y="617"/>
                      <a:pt x="827" y="608"/>
                      <a:pt x="805" y="572"/>
                    </a:cubicBezTo>
                    <a:cubicBezTo>
                      <a:pt x="747" y="473"/>
                      <a:pt x="689" y="374"/>
                      <a:pt x="631" y="276"/>
                    </a:cubicBezTo>
                    <a:cubicBezTo>
                      <a:pt x="629" y="271"/>
                      <a:pt x="626" y="268"/>
                      <a:pt x="620" y="260"/>
                    </a:cubicBezTo>
                    <a:cubicBezTo>
                      <a:pt x="609" y="320"/>
                      <a:pt x="609" y="376"/>
                      <a:pt x="615" y="432"/>
                    </a:cubicBezTo>
                    <a:cubicBezTo>
                      <a:pt x="628" y="549"/>
                      <a:pt x="669" y="656"/>
                      <a:pt x="728" y="756"/>
                    </a:cubicBezTo>
                    <a:cubicBezTo>
                      <a:pt x="754" y="799"/>
                      <a:pt x="749" y="809"/>
                      <a:pt x="698" y="814"/>
                    </a:cubicBezTo>
                    <a:cubicBezTo>
                      <a:pt x="674" y="816"/>
                      <a:pt x="649" y="814"/>
                      <a:pt x="622" y="814"/>
                    </a:cubicBezTo>
                    <a:cubicBezTo>
                      <a:pt x="622" y="824"/>
                      <a:pt x="622" y="831"/>
                      <a:pt x="622" y="838"/>
                    </a:cubicBezTo>
                    <a:cubicBezTo>
                      <a:pt x="624" y="1004"/>
                      <a:pt x="627" y="1170"/>
                      <a:pt x="629" y="1336"/>
                    </a:cubicBezTo>
                    <a:cubicBezTo>
                      <a:pt x="629" y="1351"/>
                      <a:pt x="626" y="1367"/>
                      <a:pt x="621" y="1381"/>
                    </a:cubicBezTo>
                    <a:cubicBezTo>
                      <a:pt x="613" y="1406"/>
                      <a:pt x="588" y="1423"/>
                      <a:pt x="564" y="1423"/>
                    </a:cubicBezTo>
                    <a:cubicBezTo>
                      <a:pt x="540" y="1423"/>
                      <a:pt x="513" y="1406"/>
                      <a:pt x="506" y="1382"/>
                    </a:cubicBezTo>
                    <a:cubicBezTo>
                      <a:pt x="499" y="1362"/>
                      <a:pt x="496" y="1341"/>
                      <a:pt x="496" y="1321"/>
                    </a:cubicBezTo>
                    <a:cubicBezTo>
                      <a:pt x="495" y="1161"/>
                      <a:pt x="495" y="1001"/>
                      <a:pt x="494" y="841"/>
                    </a:cubicBezTo>
                    <a:cubicBezTo>
                      <a:pt x="494" y="834"/>
                      <a:pt x="494" y="827"/>
                      <a:pt x="494" y="816"/>
                    </a:cubicBezTo>
                    <a:cubicBezTo>
                      <a:pt x="476" y="816"/>
                      <a:pt x="458" y="815"/>
                      <a:pt x="442" y="817"/>
                    </a:cubicBezTo>
                    <a:cubicBezTo>
                      <a:pt x="438" y="817"/>
                      <a:pt x="434" y="828"/>
                      <a:pt x="433" y="834"/>
                    </a:cubicBezTo>
                    <a:cubicBezTo>
                      <a:pt x="432" y="904"/>
                      <a:pt x="430" y="975"/>
                      <a:pt x="430" y="1046"/>
                    </a:cubicBezTo>
                    <a:cubicBezTo>
                      <a:pt x="430" y="1141"/>
                      <a:pt x="432" y="1236"/>
                      <a:pt x="431" y="1331"/>
                    </a:cubicBezTo>
                    <a:cubicBezTo>
                      <a:pt x="430" y="1352"/>
                      <a:pt x="424" y="1375"/>
                      <a:pt x="414" y="1394"/>
                    </a:cubicBezTo>
                    <a:cubicBezTo>
                      <a:pt x="404" y="1415"/>
                      <a:pt x="382" y="1426"/>
                      <a:pt x="357" y="1422"/>
                    </a:cubicBezTo>
                    <a:cubicBezTo>
                      <a:pt x="332" y="1419"/>
                      <a:pt x="313" y="1405"/>
                      <a:pt x="306" y="1380"/>
                    </a:cubicBezTo>
                    <a:cubicBezTo>
                      <a:pt x="300" y="1359"/>
                      <a:pt x="298" y="1336"/>
                      <a:pt x="298" y="1314"/>
                    </a:cubicBezTo>
                    <a:cubicBezTo>
                      <a:pt x="300" y="1156"/>
                      <a:pt x="303" y="999"/>
                      <a:pt x="306" y="842"/>
                    </a:cubicBezTo>
                    <a:cubicBezTo>
                      <a:pt x="306" y="834"/>
                      <a:pt x="306" y="826"/>
                      <a:pt x="306" y="817"/>
                    </a:cubicBezTo>
                    <a:cubicBezTo>
                      <a:pt x="277" y="816"/>
                      <a:pt x="251" y="816"/>
                      <a:pt x="224" y="813"/>
                    </a:cubicBezTo>
                    <a:cubicBezTo>
                      <a:pt x="179" y="808"/>
                      <a:pt x="174" y="799"/>
                      <a:pt x="197" y="759"/>
                    </a:cubicBezTo>
                    <a:cubicBezTo>
                      <a:pt x="231" y="701"/>
                      <a:pt x="260" y="642"/>
                      <a:pt x="280" y="578"/>
                    </a:cubicBezTo>
                    <a:cubicBezTo>
                      <a:pt x="311" y="479"/>
                      <a:pt x="326" y="378"/>
                      <a:pt x="310" y="274"/>
                    </a:cubicBezTo>
                    <a:cubicBezTo>
                      <a:pt x="310" y="271"/>
                      <a:pt x="309" y="268"/>
                      <a:pt x="308" y="265"/>
                    </a:cubicBezTo>
                    <a:cubicBezTo>
                      <a:pt x="307" y="265"/>
                      <a:pt x="305" y="264"/>
                      <a:pt x="303" y="26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3" name="Freeform 29"/>
              <p:cNvSpPr>
                <a:spLocks/>
              </p:cNvSpPr>
              <p:nvPr/>
            </p:nvSpPr>
            <p:spPr bwMode="auto">
              <a:xfrm>
                <a:off x="10080354" y="4214868"/>
                <a:ext cx="547688" cy="749298"/>
              </a:xfrm>
              <a:custGeom>
                <a:avLst/>
                <a:gdLst>
                  <a:gd name="T0" fmla="*/ 216 w 711"/>
                  <a:gd name="T1" fmla="*/ 204 h 971"/>
                  <a:gd name="T2" fmla="*/ 102 w 711"/>
                  <a:gd name="T3" fmla="*/ 381 h 971"/>
                  <a:gd name="T4" fmla="*/ 24 w 711"/>
                  <a:gd name="T5" fmla="*/ 395 h 971"/>
                  <a:gd name="T6" fmla="*/ 12 w 711"/>
                  <a:gd name="T7" fmla="*/ 343 h 971"/>
                  <a:gd name="T8" fmla="*/ 170 w 711"/>
                  <a:gd name="T9" fmla="*/ 79 h 971"/>
                  <a:gd name="T10" fmla="*/ 248 w 711"/>
                  <a:gd name="T11" fmla="*/ 10 h 971"/>
                  <a:gd name="T12" fmla="*/ 295 w 711"/>
                  <a:gd name="T13" fmla="*/ 4 h 971"/>
                  <a:gd name="T14" fmla="*/ 409 w 711"/>
                  <a:gd name="T15" fmla="*/ 4 h 971"/>
                  <a:gd name="T16" fmla="*/ 506 w 711"/>
                  <a:gd name="T17" fmla="*/ 39 h 971"/>
                  <a:gd name="T18" fmla="*/ 571 w 711"/>
                  <a:gd name="T19" fmla="*/ 128 h 971"/>
                  <a:gd name="T20" fmla="*/ 695 w 711"/>
                  <a:gd name="T21" fmla="*/ 335 h 971"/>
                  <a:gd name="T22" fmla="*/ 682 w 711"/>
                  <a:gd name="T23" fmla="*/ 398 h 971"/>
                  <a:gd name="T24" fmla="*/ 611 w 711"/>
                  <a:gd name="T25" fmla="*/ 384 h 971"/>
                  <a:gd name="T26" fmla="*/ 514 w 711"/>
                  <a:gd name="T27" fmla="*/ 234 h 971"/>
                  <a:gd name="T28" fmla="*/ 492 w 711"/>
                  <a:gd name="T29" fmla="*/ 204 h 971"/>
                  <a:gd name="T30" fmla="*/ 500 w 711"/>
                  <a:gd name="T31" fmla="*/ 298 h 971"/>
                  <a:gd name="T32" fmla="*/ 551 w 711"/>
                  <a:gd name="T33" fmla="*/ 449 h 971"/>
                  <a:gd name="T34" fmla="*/ 559 w 711"/>
                  <a:gd name="T35" fmla="*/ 488 h 971"/>
                  <a:gd name="T36" fmla="*/ 514 w 711"/>
                  <a:gd name="T37" fmla="*/ 546 h 971"/>
                  <a:gd name="T38" fmla="*/ 494 w 711"/>
                  <a:gd name="T39" fmla="*/ 572 h 971"/>
                  <a:gd name="T40" fmla="*/ 499 w 711"/>
                  <a:gd name="T41" fmla="*/ 898 h 971"/>
                  <a:gd name="T42" fmla="*/ 470 w 711"/>
                  <a:gd name="T43" fmla="*/ 950 h 971"/>
                  <a:gd name="T44" fmla="*/ 409 w 711"/>
                  <a:gd name="T45" fmla="*/ 946 h 971"/>
                  <a:gd name="T46" fmla="*/ 386 w 711"/>
                  <a:gd name="T47" fmla="*/ 893 h 971"/>
                  <a:gd name="T48" fmla="*/ 387 w 711"/>
                  <a:gd name="T49" fmla="*/ 617 h 971"/>
                  <a:gd name="T50" fmla="*/ 385 w 711"/>
                  <a:gd name="T51" fmla="*/ 565 h 971"/>
                  <a:gd name="T52" fmla="*/ 369 w 711"/>
                  <a:gd name="T53" fmla="*/ 549 h 971"/>
                  <a:gd name="T54" fmla="*/ 326 w 711"/>
                  <a:gd name="T55" fmla="*/ 589 h 971"/>
                  <a:gd name="T56" fmla="*/ 325 w 711"/>
                  <a:gd name="T57" fmla="*/ 891 h 971"/>
                  <a:gd name="T58" fmla="*/ 296 w 711"/>
                  <a:gd name="T59" fmla="*/ 950 h 971"/>
                  <a:gd name="T60" fmla="*/ 213 w 711"/>
                  <a:gd name="T61" fmla="*/ 900 h 971"/>
                  <a:gd name="T62" fmla="*/ 217 w 711"/>
                  <a:gd name="T63" fmla="*/ 573 h 971"/>
                  <a:gd name="T64" fmla="*/ 196 w 711"/>
                  <a:gd name="T65" fmla="*/ 546 h 971"/>
                  <a:gd name="T66" fmla="*/ 152 w 711"/>
                  <a:gd name="T67" fmla="*/ 487 h 971"/>
                  <a:gd name="T68" fmla="*/ 176 w 711"/>
                  <a:gd name="T69" fmla="*/ 401 h 971"/>
                  <a:gd name="T70" fmla="*/ 221 w 711"/>
                  <a:gd name="T71" fmla="*/ 248 h 971"/>
                  <a:gd name="T72" fmla="*/ 222 w 711"/>
                  <a:gd name="T73" fmla="*/ 204 h 971"/>
                  <a:gd name="T74" fmla="*/ 216 w 711"/>
                  <a:gd name="T75" fmla="*/ 204 h 97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</a:cxnLst>
                <a:rect l="0" t="0" r="r" b="b"/>
                <a:pathLst>
                  <a:path w="711" h="971">
                    <a:moveTo>
                      <a:pt x="216" y="204"/>
                    </a:moveTo>
                    <a:cubicBezTo>
                      <a:pt x="178" y="263"/>
                      <a:pt x="140" y="322"/>
                      <a:pt x="102" y="381"/>
                    </a:cubicBezTo>
                    <a:cubicBezTo>
                      <a:pt x="83" y="410"/>
                      <a:pt x="51" y="415"/>
                      <a:pt x="24" y="395"/>
                    </a:cubicBezTo>
                    <a:cubicBezTo>
                      <a:pt x="6" y="382"/>
                      <a:pt x="0" y="363"/>
                      <a:pt x="12" y="343"/>
                    </a:cubicBezTo>
                    <a:cubicBezTo>
                      <a:pt x="64" y="255"/>
                      <a:pt x="117" y="166"/>
                      <a:pt x="170" y="79"/>
                    </a:cubicBezTo>
                    <a:cubicBezTo>
                      <a:pt x="189" y="49"/>
                      <a:pt x="214" y="23"/>
                      <a:pt x="248" y="10"/>
                    </a:cubicBezTo>
                    <a:cubicBezTo>
                      <a:pt x="263" y="4"/>
                      <a:pt x="280" y="4"/>
                      <a:pt x="295" y="4"/>
                    </a:cubicBezTo>
                    <a:cubicBezTo>
                      <a:pt x="333" y="3"/>
                      <a:pt x="371" y="7"/>
                      <a:pt x="409" y="4"/>
                    </a:cubicBezTo>
                    <a:cubicBezTo>
                      <a:pt x="448" y="0"/>
                      <a:pt x="481" y="11"/>
                      <a:pt x="506" y="39"/>
                    </a:cubicBezTo>
                    <a:cubicBezTo>
                      <a:pt x="530" y="67"/>
                      <a:pt x="552" y="97"/>
                      <a:pt x="571" y="128"/>
                    </a:cubicBezTo>
                    <a:cubicBezTo>
                      <a:pt x="613" y="196"/>
                      <a:pt x="654" y="266"/>
                      <a:pt x="695" y="335"/>
                    </a:cubicBezTo>
                    <a:cubicBezTo>
                      <a:pt x="711" y="364"/>
                      <a:pt x="707" y="383"/>
                      <a:pt x="682" y="398"/>
                    </a:cubicBezTo>
                    <a:cubicBezTo>
                      <a:pt x="657" y="414"/>
                      <a:pt x="627" y="409"/>
                      <a:pt x="611" y="384"/>
                    </a:cubicBezTo>
                    <a:cubicBezTo>
                      <a:pt x="578" y="334"/>
                      <a:pt x="547" y="284"/>
                      <a:pt x="514" y="234"/>
                    </a:cubicBezTo>
                    <a:cubicBezTo>
                      <a:pt x="508" y="224"/>
                      <a:pt x="501" y="214"/>
                      <a:pt x="492" y="204"/>
                    </a:cubicBezTo>
                    <a:cubicBezTo>
                      <a:pt x="485" y="237"/>
                      <a:pt x="491" y="268"/>
                      <a:pt x="500" y="298"/>
                    </a:cubicBezTo>
                    <a:cubicBezTo>
                      <a:pt x="516" y="349"/>
                      <a:pt x="535" y="399"/>
                      <a:pt x="551" y="449"/>
                    </a:cubicBezTo>
                    <a:cubicBezTo>
                      <a:pt x="555" y="462"/>
                      <a:pt x="558" y="475"/>
                      <a:pt x="559" y="488"/>
                    </a:cubicBezTo>
                    <a:cubicBezTo>
                      <a:pt x="562" y="524"/>
                      <a:pt x="550" y="541"/>
                      <a:pt x="514" y="546"/>
                    </a:cubicBezTo>
                    <a:cubicBezTo>
                      <a:pt x="497" y="549"/>
                      <a:pt x="493" y="555"/>
                      <a:pt x="494" y="572"/>
                    </a:cubicBezTo>
                    <a:cubicBezTo>
                      <a:pt x="496" y="681"/>
                      <a:pt x="498" y="789"/>
                      <a:pt x="499" y="898"/>
                    </a:cubicBezTo>
                    <a:cubicBezTo>
                      <a:pt x="499" y="921"/>
                      <a:pt x="492" y="939"/>
                      <a:pt x="470" y="950"/>
                    </a:cubicBezTo>
                    <a:cubicBezTo>
                      <a:pt x="448" y="961"/>
                      <a:pt x="428" y="959"/>
                      <a:pt x="409" y="946"/>
                    </a:cubicBezTo>
                    <a:cubicBezTo>
                      <a:pt x="390" y="933"/>
                      <a:pt x="386" y="914"/>
                      <a:pt x="386" y="893"/>
                    </a:cubicBezTo>
                    <a:cubicBezTo>
                      <a:pt x="387" y="801"/>
                      <a:pt x="387" y="709"/>
                      <a:pt x="387" y="617"/>
                    </a:cubicBezTo>
                    <a:cubicBezTo>
                      <a:pt x="387" y="600"/>
                      <a:pt x="385" y="583"/>
                      <a:pt x="385" y="565"/>
                    </a:cubicBezTo>
                    <a:cubicBezTo>
                      <a:pt x="385" y="554"/>
                      <a:pt x="382" y="548"/>
                      <a:pt x="369" y="549"/>
                    </a:cubicBezTo>
                    <a:cubicBezTo>
                      <a:pt x="321" y="550"/>
                      <a:pt x="326" y="541"/>
                      <a:pt x="326" y="589"/>
                    </a:cubicBezTo>
                    <a:cubicBezTo>
                      <a:pt x="325" y="689"/>
                      <a:pt x="325" y="790"/>
                      <a:pt x="325" y="891"/>
                    </a:cubicBezTo>
                    <a:cubicBezTo>
                      <a:pt x="325" y="916"/>
                      <a:pt x="320" y="937"/>
                      <a:pt x="296" y="950"/>
                    </a:cubicBezTo>
                    <a:cubicBezTo>
                      <a:pt x="256" y="971"/>
                      <a:pt x="212" y="946"/>
                      <a:pt x="213" y="900"/>
                    </a:cubicBezTo>
                    <a:cubicBezTo>
                      <a:pt x="213" y="791"/>
                      <a:pt x="215" y="682"/>
                      <a:pt x="217" y="573"/>
                    </a:cubicBezTo>
                    <a:cubicBezTo>
                      <a:pt x="218" y="555"/>
                      <a:pt x="213" y="549"/>
                      <a:pt x="196" y="546"/>
                    </a:cubicBezTo>
                    <a:cubicBezTo>
                      <a:pt x="161" y="541"/>
                      <a:pt x="146" y="522"/>
                      <a:pt x="152" y="487"/>
                    </a:cubicBezTo>
                    <a:cubicBezTo>
                      <a:pt x="157" y="458"/>
                      <a:pt x="168" y="430"/>
                      <a:pt x="176" y="401"/>
                    </a:cubicBezTo>
                    <a:cubicBezTo>
                      <a:pt x="191" y="350"/>
                      <a:pt x="207" y="299"/>
                      <a:pt x="221" y="248"/>
                    </a:cubicBezTo>
                    <a:cubicBezTo>
                      <a:pt x="225" y="234"/>
                      <a:pt x="222" y="218"/>
                      <a:pt x="222" y="204"/>
                    </a:cubicBezTo>
                    <a:cubicBezTo>
                      <a:pt x="220" y="204"/>
                      <a:pt x="218" y="204"/>
                      <a:pt x="216" y="204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4" name="Freeform 30"/>
              <p:cNvSpPr>
                <a:spLocks/>
              </p:cNvSpPr>
              <p:nvPr/>
            </p:nvSpPr>
            <p:spPr bwMode="auto">
              <a:xfrm>
                <a:off x="9659667" y="3495733"/>
                <a:ext cx="287338" cy="290513"/>
              </a:xfrm>
              <a:custGeom>
                <a:avLst/>
                <a:gdLst>
                  <a:gd name="T0" fmla="*/ 373 w 373"/>
                  <a:gd name="T1" fmla="*/ 188 h 377"/>
                  <a:gd name="T2" fmla="*/ 187 w 373"/>
                  <a:gd name="T3" fmla="*/ 376 h 377"/>
                  <a:gd name="T4" fmla="*/ 0 w 373"/>
                  <a:gd name="T5" fmla="*/ 186 h 377"/>
                  <a:gd name="T6" fmla="*/ 186 w 373"/>
                  <a:gd name="T7" fmla="*/ 1 h 377"/>
                  <a:gd name="T8" fmla="*/ 373 w 373"/>
                  <a:gd name="T9" fmla="*/ 188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73" h="377">
                    <a:moveTo>
                      <a:pt x="373" y="188"/>
                    </a:moveTo>
                    <a:cubicBezTo>
                      <a:pt x="373" y="290"/>
                      <a:pt x="288" y="376"/>
                      <a:pt x="187" y="376"/>
                    </a:cubicBezTo>
                    <a:cubicBezTo>
                      <a:pt x="86" y="377"/>
                      <a:pt x="0" y="289"/>
                      <a:pt x="0" y="186"/>
                    </a:cubicBezTo>
                    <a:cubicBezTo>
                      <a:pt x="1" y="86"/>
                      <a:pt x="86" y="1"/>
                      <a:pt x="186" y="1"/>
                    </a:cubicBezTo>
                    <a:cubicBezTo>
                      <a:pt x="288" y="0"/>
                      <a:pt x="373" y="85"/>
                      <a:pt x="373" y="1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5" name="Freeform 31"/>
              <p:cNvSpPr>
                <a:spLocks/>
              </p:cNvSpPr>
              <p:nvPr/>
            </p:nvSpPr>
            <p:spPr bwMode="auto">
              <a:xfrm>
                <a:off x="10770917" y="3571934"/>
                <a:ext cx="269875" cy="273049"/>
              </a:xfrm>
              <a:custGeom>
                <a:avLst/>
                <a:gdLst>
                  <a:gd name="T0" fmla="*/ 350 w 350"/>
                  <a:gd name="T1" fmla="*/ 177 h 354"/>
                  <a:gd name="T2" fmla="*/ 174 w 350"/>
                  <a:gd name="T3" fmla="*/ 354 h 354"/>
                  <a:gd name="T4" fmla="*/ 0 w 350"/>
                  <a:gd name="T5" fmla="*/ 178 h 354"/>
                  <a:gd name="T6" fmla="*/ 176 w 350"/>
                  <a:gd name="T7" fmla="*/ 1 h 354"/>
                  <a:gd name="T8" fmla="*/ 350 w 350"/>
                  <a:gd name="T9" fmla="*/ 177 h 35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50" h="354">
                    <a:moveTo>
                      <a:pt x="350" y="177"/>
                    </a:moveTo>
                    <a:cubicBezTo>
                      <a:pt x="349" y="272"/>
                      <a:pt x="267" y="354"/>
                      <a:pt x="174" y="354"/>
                    </a:cubicBezTo>
                    <a:cubicBezTo>
                      <a:pt x="81" y="353"/>
                      <a:pt x="0" y="271"/>
                      <a:pt x="0" y="178"/>
                    </a:cubicBezTo>
                    <a:cubicBezTo>
                      <a:pt x="0" y="83"/>
                      <a:pt x="82" y="0"/>
                      <a:pt x="176" y="1"/>
                    </a:cubicBezTo>
                    <a:cubicBezTo>
                      <a:pt x="268" y="2"/>
                      <a:pt x="350" y="84"/>
                      <a:pt x="350" y="177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96" name="Freeform 32"/>
              <p:cNvSpPr>
                <a:spLocks/>
              </p:cNvSpPr>
              <p:nvPr/>
            </p:nvSpPr>
            <p:spPr bwMode="auto">
              <a:xfrm>
                <a:off x="10234342" y="3960870"/>
                <a:ext cx="239714" cy="244475"/>
              </a:xfrm>
              <a:custGeom>
                <a:avLst/>
                <a:gdLst>
                  <a:gd name="T0" fmla="*/ 311 w 311"/>
                  <a:gd name="T1" fmla="*/ 159 h 317"/>
                  <a:gd name="T2" fmla="*/ 156 w 311"/>
                  <a:gd name="T3" fmla="*/ 316 h 317"/>
                  <a:gd name="T4" fmla="*/ 1 w 311"/>
                  <a:gd name="T5" fmla="*/ 158 h 317"/>
                  <a:gd name="T6" fmla="*/ 157 w 311"/>
                  <a:gd name="T7" fmla="*/ 2 h 317"/>
                  <a:gd name="T8" fmla="*/ 311 w 311"/>
                  <a:gd name="T9" fmla="*/ 159 h 31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311" h="317">
                    <a:moveTo>
                      <a:pt x="311" y="159"/>
                    </a:moveTo>
                    <a:cubicBezTo>
                      <a:pt x="310" y="243"/>
                      <a:pt x="238" y="316"/>
                      <a:pt x="156" y="316"/>
                    </a:cubicBezTo>
                    <a:cubicBezTo>
                      <a:pt x="73" y="317"/>
                      <a:pt x="0" y="243"/>
                      <a:pt x="1" y="158"/>
                    </a:cubicBezTo>
                    <a:cubicBezTo>
                      <a:pt x="1" y="72"/>
                      <a:pt x="73" y="0"/>
                      <a:pt x="157" y="2"/>
                    </a:cubicBezTo>
                    <a:cubicBezTo>
                      <a:pt x="241" y="3"/>
                      <a:pt x="311" y="75"/>
                      <a:pt x="311" y="159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grpSp>
        <p:nvGrpSpPr>
          <p:cNvPr id="97" name="Группа 39"/>
          <p:cNvGrpSpPr/>
          <p:nvPr/>
        </p:nvGrpSpPr>
        <p:grpSpPr>
          <a:xfrm>
            <a:off x="6572264" y="4857760"/>
            <a:ext cx="2081089" cy="1309824"/>
            <a:chOff x="132904" y="4754736"/>
            <a:chExt cx="2081088" cy="1512168"/>
          </a:xfrm>
        </p:grpSpPr>
        <p:sp>
          <p:nvSpPr>
            <p:cNvPr id="98" name="Скругленный прямоугольник 97"/>
            <p:cNvSpPr/>
            <p:nvPr/>
          </p:nvSpPr>
          <p:spPr>
            <a:xfrm>
              <a:off x="171004" y="4754736"/>
              <a:ext cx="2016224" cy="1512168"/>
            </a:xfrm>
            <a:prstGeom prst="roundRect">
              <a:avLst/>
            </a:prstGeom>
            <a:noFill/>
            <a:ln w="73025">
              <a:solidFill>
                <a:srgbClr val="83AEE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sp>
          <p:nvSpPr>
            <p:cNvPr id="99" name="Прямоугольник 98"/>
            <p:cNvSpPr/>
            <p:nvPr/>
          </p:nvSpPr>
          <p:spPr>
            <a:xfrm>
              <a:off x="132904" y="4856460"/>
              <a:ext cx="2081088" cy="55720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Поддержка</a:t>
              </a:r>
            </a:p>
            <a:p>
              <a:pPr lvl="0" algn="ctr">
                <a:lnSpc>
                  <a:spcPts val="1800"/>
                </a:lnSpc>
              </a:pPr>
              <a:r>
                <a:rPr lang="ru-RU" dirty="0" smtClean="0"/>
                <a:t>сиротства</a:t>
              </a:r>
              <a:endParaRPr lang="ru-RU" dirty="0"/>
            </a:p>
          </p:txBody>
        </p:sp>
        <p:sp>
          <p:nvSpPr>
            <p:cNvPr id="100" name="Скругленный прямоугольник 99"/>
            <p:cNvSpPr/>
            <p:nvPr/>
          </p:nvSpPr>
          <p:spPr>
            <a:xfrm>
              <a:off x="669544" y="5618832"/>
              <a:ext cx="1015144" cy="423540"/>
            </a:xfrm>
            <a:prstGeom prst="roundRect">
              <a:avLst>
                <a:gd name="adj" fmla="val 31566"/>
              </a:avLst>
            </a:prstGeom>
            <a:solidFill>
              <a:srgbClr val="3F81D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b="1" dirty="0" smtClean="0"/>
                <a:t>3,4</a:t>
              </a:r>
              <a:endParaRPr lang="ru-RU" dirty="0"/>
            </a:p>
          </p:txBody>
        </p:sp>
      </p:grpSp>
      <p:cxnSp>
        <p:nvCxnSpPr>
          <p:cNvPr id="101" name="Прямая соединительная линия 100"/>
          <p:cNvCxnSpPr/>
          <p:nvPr/>
        </p:nvCxnSpPr>
        <p:spPr>
          <a:xfrm>
            <a:off x="4857752" y="5786454"/>
            <a:ext cx="1785950" cy="1588"/>
          </a:xfrm>
          <a:prstGeom prst="line">
            <a:avLst/>
          </a:prstGeom>
          <a:ln w="82550" cap="rnd">
            <a:solidFill>
              <a:srgbClr val="83AEE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2" name="Группа 23"/>
          <p:cNvGrpSpPr/>
          <p:nvPr/>
        </p:nvGrpSpPr>
        <p:grpSpPr>
          <a:xfrm>
            <a:off x="4500562" y="5357826"/>
            <a:ext cx="433119" cy="470598"/>
            <a:chOff x="6096001" y="5805265"/>
            <a:chExt cx="577492" cy="470598"/>
          </a:xfrm>
        </p:grpSpPr>
        <p:sp>
          <p:nvSpPr>
            <p:cNvPr id="103" name="Овал 102"/>
            <p:cNvSpPr/>
            <p:nvPr/>
          </p:nvSpPr>
          <p:spPr>
            <a:xfrm>
              <a:off x="6096001" y="5805265"/>
              <a:ext cx="576064" cy="470598"/>
            </a:xfrm>
            <a:prstGeom prst="ellipse">
              <a:avLst/>
            </a:prstGeom>
            <a:solidFill>
              <a:srgbClr val="83AEE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dirty="0"/>
            </a:p>
          </p:txBody>
        </p:sp>
        <p:grpSp>
          <p:nvGrpSpPr>
            <p:cNvPr id="104" name="Группа 42"/>
            <p:cNvGrpSpPr/>
            <p:nvPr/>
          </p:nvGrpSpPr>
          <p:grpSpPr>
            <a:xfrm>
              <a:off x="6158724" y="5880213"/>
              <a:ext cx="514769" cy="330724"/>
              <a:chOff x="-2887671" y="7478713"/>
              <a:chExt cx="3921367" cy="3359150"/>
            </a:xfrm>
            <a:solidFill>
              <a:schemeClr val="tx1">
                <a:lumMod val="85000"/>
                <a:lumOff val="15000"/>
              </a:schemeClr>
            </a:solidFill>
          </p:grpSpPr>
          <p:sp>
            <p:nvSpPr>
              <p:cNvPr id="105" name="Freeform 38"/>
              <p:cNvSpPr>
                <a:spLocks/>
              </p:cNvSpPr>
              <p:nvPr/>
            </p:nvSpPr>
            <p:spPr bwMode="auto">
              <a:xfrm>
                <a:off x="-2887671" y="8061326"/>
                <a:ext cx="1716326" cy="2776537"/>
              </a:xfrm>
              <a:custGeom>
                <a:avLst/>
                <a:gdLst>
                  <a:gd name="T0" fmla="*/ 312 w 693"/>
                  <a:gd name="T1" fmla="*/ 743 h 872"/>
                  <a:gd name="T2" fmla="*/ 311 w 693"/>
                  <a:gd name="T3" fmla="*/ 803 h 872"/>
                  <a:gd name="T4" fmla="*/ 244 w 693"/>
                  <a:gd name="T5" fmla="*/ 870 h 872"/>
                  <a:gd name="T6" fmla="*/ 171 w 693"/>
                  <a:gd name="T7" fmla="*/ 807 h 872"/>
                  <a:gd name="T8" fmla="*/ 170 w 693"/>
                  <a:gd name="T9" fmla="*/ 691 h 872"/>
                  <a:gd name="T10" fmla="*/ 142 w 693"/>
                  <a:gd name="T11" fmla="*/ 661 h 872"/>
                  <a:gd name="T12" fmla="*/ 105 w 693"/>
                  <a:gd name="T13" fmla="*/ 617 h 872"/>
                  <a:gd name="T14" fmla="*/ 153 w 693"/>
                  <a:gd name="T15" fmla="*/ 275 h 872"/>
                  <a:gd name="T16" fmla="*/ 141 w 693"/>
                  <a:gd name="T17" fmla="*/ 244 h 872"/>
                  <a:gd name="T18" fmla="*/ 35 w 693"/>
                  <a:gd name="T19" fmla="*/ 136 h 872"/>
                  <a:gd name="T20" fmla="*/ 30 w 693"/>
                  <a:gd name="T21" fmla="*/ 30 h 872"/>
                  <a:gd name="T22" fmla="*/ 137 w 693"/>
                  <a:gd name="T23" fmla="*/ 35 h 872"/>
                  <a:gd name="T24" fmla="*/ 251 w 693"/>
                  <a:gd name="T25" fmla="*/ 150 h 872"/>
                  <a:gd name="T26" fmla="*/ 301 w 693"/>
                  <a:gd name="T27" fmla="*/ 170 h 872"/>
                  <a:gd name="T28" fmla="*/ 403 w 693"/>
                  <a:gd name="T29" fmla="*/ 169 h 872"/>
                  <a:gd name="T30" fmla="*/ 439 w 693"/>
                  <a:gd name="T31" fmla="*/ 154 h 872"/>
                  <a:gd name="T32" fmla="*/ 559 w 693"/>
                  <a:gd name="T33" fmla="*/ 36 h 872"/>
                  <a:gd name="T34" fmla="*/ 667 w 693"/>
                  <a:gd name="T35" fmla="*/ 36 h 872"/>
                  <a:gd name="T36" fmla="*/ 661 w 693"/>
                  <a:gd name="T37" fmla="*/ 137 h 872"/>
                  <a:gd name="T38" fmla="*/ 552 w 693"/>
                  <a:gd name="T39" fmla="*/ 246 h 872"/>
                  <a:gd name="T40" fmla="*/ 538 w 693"/>
                  <a:gd name="T41" fmla="*/ 287 h 872"/>
                  <a:gd name="T42" fmla="*/ 589 w 693"/>
                  <a:gd name="T43" fmla="*/ 638 h 872"/>
                  <a:gd name="T44" fmla="*/ 570 w 693"/>
                  <a:gd name="T45" fmla="*/ 661 h 872"/>
                  <a:gd name="T46" fmla="*/ 521 w 693"/>
                  <a:gd name="T47" fmla="*/ 711 h 872"/>
                  <a:gd name="T48" fmla="*/ 521 w 693"/>
                  <a:gd name="T49" fmla="*/ 795 h 872"/>
                  <a:gd name="T50" fmla="*/ 450 w 693"/>
                  <a:gd name="T51" fmla="*/ 870 h 872"/>
                  <a:gd name="T52" fmla="*/ 379 w 693"/>
                  <a:gd name="T53" fmla="*/ 796 h 872"/>
                  <a:gd name="T54" fmla="*/ 379 w 693"/>
                  <a:gd name="T55" fmla="*/ 680 h 872"/>
                  <a:gd name="T56" fmla="*/ 361 w 693"/>
                  <a:gd name="T57" fmla="*/ 661 h 872"/>
                  <a:gd name="T58" fmla="*/ 312 w 693"/>
                  <a:gd name="T59" fmla="*/ 709 h 872"/>
                  <a:gd name="T60" fmla="*/ 312 w 693"/>
                  <a:gd name="T61" fmla="*/ 743 h 872"/>
                  <a:gd name="T62" fmla="*/ 312 w 693"/>
                  <a:gd name="T63" fmla="*/ 743 h 87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</a:cxnLst>
                <a:rect l="0" t="0" r="r" b="b"/>
                <a:pathLst>
                  <a:path w="693" h="872">
                    <a:moveTo>
                      <a:pt x="312" y="743"/>
                    </a:moveTo>
                    <a:cubicBezTo>
                      <a:pt x="312" y="763"/>
                      <a:pt x="312" y="783"/>
                      <a:pt x="311" y="803"/>
                    </a:cubicBezTo>
                    <a:cubicBezTo>
                      <a:pt x="310" y="841"/>
                      <a:pt x="282" y="869"/>
                      <a:pt x="244" y="870"/>
                    </a:cubicBezTo>
                    <a:cubicBezTo>
                      <a:pt x="205" y="872"/>
                      <a:pt x="173" y="845"/>
                      <a:pt x="171" y="807"/>
                    </a:cubicBezTo>
                    <a:cubicBezTo>
                      <a:pt x="169" y="768"/>
                      <a:pt x="169" y="730"/>
                      <a:pt x="170" y="691"/>
                    </a:cubicBezTo>
                    <a:cubicBezTo>
                      <a:pt x="171" y="665"/>
                      <a:pt x="168" y="661"/>
                      <a:pt x="142" y="661"/>
                    </a:cubicBezTo>
                    <a:cubicBezTo>
                      <a:pt x="92" y="661"/>
                      <a:pt x="98" y="666"/>
                      <a:pt x="105" y="617"/>
                    </a:cubicBezTo>
                    <a:cubicBezTo>
                      <a:pt x="121" y="503"/>
                      <a:pt x="138" y="389"/>
                      <a:pt x="153" y="275"/>
                    </a:cubicBezTo>
                    <a:cubicBezTo>
                      <a:pt x="155" y="265"/>
                      <a:pt x="149" y="252"/>
                      <a:pt x="141" y="244"/>
                    </a:cubicBezTo>
                    <a:cubicBezTo>
                      <a:pt x="107" y="207"/>
                      <a:pt x="70" y="172"/>
                      <a:pt x="35" y="136"/>
                    </a:cubicBezTo>
                    <a:cubicBezTo>
                      <a:pt x="2" y="103"/>
                      <a:pt x="0" y="59"/>
                      <a:pt x="30" y="30"/>
                    </a:cubicBezTo>
                    <a:cubicBezTo>
                      <a:pt x="60" y="0"/>
                      <a:pt x="103" y="2"/>
                      <a:pt x="137" y="35"/>
                    </a:cubicBezTo>
                    <a:cubicBezTo>
                      <a:pt x="175" y="73"/>
                      <a:pt x="213" y="111"/>
                      <a:pt x="251" y="150"/>
                    </a:cubicBezTo>
                    <a:cubicBezTo>
                      <a:pt x="265" y="164"/>
                      <a:pt x="281" y="171"/>
                      <a:pt x="301" y="170"/>
                    </a:cubicBezTo>
                    <a:cubicBezTo>
                      <a:pt x="335" y="169"/>
                      <a:pt x="369" y="171"/>
                      <a:pt x="403" y="169"/>
                    </a:cubicBezTo>
                    <a:cubicBezTo>
                      <a:pt x="415" y="168"/>
                      <a:pt x="430" y="163"/>
                      <a:pt x="439" y="154"/>
                    </a:cubicBezTo>
                    <a:cubicBezTo>
                      <a:pt x="480" y="116"/>
                      <a:pt x="518" y="75"/>
                      <a:pt x="559" y="36"/>
                    </a:cubicBezTo>
                    <a:cubicBezTo>
                      <a:pt x="592" y="4"/>
                      <a:pt x="638" y="4"/>
                      <a:pt x="667" y="36"/>
                    </a:cubicBezTo>
                    <a:cubicBezTo>
                      <a:pt x="693" y="65"/>
                      <a:pt x="691" y="107"/>
                      <a:pt x="661" y="137"/>
                    </a:cubicBezTo>
                    <a:cubicBezTo>
                      <a:pt x="625" y="174"/>
                      <a:pt x="589" y="210"/>
                      <a:pt x="552" y="246"/>
                    </a:cubicBezTo>
                    <a:cubicBezTo>
                      <a:pt x="540" y="258"/>
                      <a:pt x="536" y="270"/>
                      <a:pt x="538" y="287"/>
                    </a:cubicBezTo>
                    <a:cubicBezTo>
                      <a:pt x="556" y="404"/>
                      <a:pt x="572" y="521"/>
                      <a:pt x="589" y="638"/>
                    </a:cubicBezTo>
                    <a:cubicBezTo>
                      <a:pt x="592" y="655"/>
                      <a:pt x="588" y="661"/>
                      <a:pt x="570" y="661"/>
                    </a:cubicBezTo>
                    <a:cubicBezTo>
                      <a:pt x="522" y="662"/>
                      <a:pt x="522" y="662"/>
                      <a:pt x="521" y="711"/>
                    </a:cubicBezTo>
                    <a:cubicBezTo>
                      <a:pt x="521" y="739"/>
                      <a:pt x="521" y="767"/>
                      <a:pt x="521" y="795"/>
                    </a:cubicBezTo>
                    <a:cubicBezTo>
                      <a:pt x="521" y="840"/>
                      <a:pt x="493" y="869"/>
                      <a:pt x="450" y="870"/>
                    </a:cubicBezTo>
                    <a:cubicBezTo>
                      <a:pt x="407" y="870"/>
                      <a:pt x="379" y="840"/>
                      <a:pt x="379" y="796"/>
                    </a:cubicBezTo>
                    <a:cubicBezTo>
                      <a:pt x="379" y="757"/>
                      <a:pt x="379" y="719"/>
                      <a:pt x="379" y="680"/>
                    </a:cubicBezTo>
                    <a:cubicBezTo>
                      <a:pt x="379" y="667"/>
                      <a:pt x="375" y="661"/>
                      <a:pt x="361" y="661"/>
                    </a:cubicBezTo>
                    <a:cubicBezTo>
                      <a:pt x="303" y="662"/>
                      <a:pt x="313" y="653"/>
                      <a:pt x="312" y="709"/>
                    </a:cubicBezTo>
                    <a:cubicBezTo>
                      <a:pt x="312" y="720"/>
                      <a:pt x="312" y="731"/>
                      <a:pt x="312" y="743"/>
                    </a:cubicBezTo>
                    <a:cubicBezTo>
                      <a:pt x="312" y="743"/>
                      <a:pt x="312" y="743"/>
                      <a:pt x="312" y="743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06" name="Freeform 39"/>
              <p:cNvSpPr>
                <a:spLocks/>
              </p:cNvSpPr>
              <p:nvPr/>
            </p:nvSpPr>
            <p:spPr bwMode="auto">
              <a:xfrm>
                <a:off x="-1171345" y="8067674"/>
                <a:ext cx="2205041" cy="2767009"/>
              </a:xfrm>
              <a:custGeom>
                <a:avLst/>
                <a:gdLst>
                  <a:gd name="T0" fmla="*/ 170 w 694"/>
                  <a:gd name="T1" fmla="*/ 542 h 869"/>
                  <a:gd name="T2" fmla="*/ 170 w 694"/>
                  <a:gd name="T3" fmla="*/ 294 h 869"/>
                  <a:gd name="T4" fmla="*/ 152 w 694"/>
                  <a:gd name="T5" fmla="*/ 252 h 869"/>
                  <a:gd name="T6" fmla="*/ 33 w 694"/>
                  <a:gd name="T7" fmla="*/ 133 h 869"/>
                  <a:gd name="T8" fmla="*/ 35 w 694"/>
                  <a:gd name="T9" fmla="*/ 24 h 869"/>
                  <a:gd name="T10" fmla="*/ 132 w 694"/>
                  <a:gd name="T11" fmla="*/ 29 h 869"/>
                  <a:gd name="T12" fmla="*/ 251 w 694"/>
                  <a:gd name="T13" fmla="*/ 148 h 869"/>
                  <a:gd name="T14" fmla="*/ 299 w 694"/>
                  <a:gd name="T15" fmla="*/ 168 h 869"/>
                  <a:gd name="T16" fmla="*/ 400 w 694"/>
                  <a:gd name="T17" fmla="*/ 168 h 869"/>
                  <a:gd name="T18" fmla="*/ 443 w 694"/>
                  <a:gd name="T19" fmla="*/ 151 h 869"/>
                  <a:gd name="T20" fmla="*/ 557 w 694"/>
                  <a:gd name="T21" fmla="*/ 36 h 869"/>
                  <a:gd name="T22" fmla="*/ 664 w 694"/>
                  <a:gd name="T23" fmla="*/ 31 h 869"/>
                  <a:gd name="T24" fmla="*/ 659 w 694"/>
                  <a:gd name="T25" fmla="*/ 138 h 869"/>
                  <a:gd name="T26" fmla="*/ 539 w 694"/>
                  <a:gd name="T27" fmla="*/ 258 h 869"/>
                  <a:gd name="T28" fmla="*/ 521 w 694"/>
                  <a:gd name="T29" fmla="*/ 302 h 869"/>
                  <a:gd name="T30" fmla="*/ 522 w 694"/>
                  <a:gd name="T31" fmla="*/ 710 h 869"/>
                  <a:gd name="T32" fmla="*/ 521 w 694"/>
                  <a:gd name="T33" fmla="*/ 802 h 869"/>
                  <a:gd name="T34" fmla="*/ 451 w 694"/>
                  <a:gd name="T35" fmla="*/ 869 h 869"/>
                  <a:gd name="T36" fmla="*/ 380 w 694"/>
                  <a:gd name="T37" fmla="*/ 802 h 869"/>
                  <a:gd name="T38" fmla="*/ 380 w 694"/>
                  <a:gd name="T39" fmla="*/ 614 h 869"/>
                  <a:gd name="T40" fmla="*/ 353 w 694"/>
                  <a:gd name="T41" fmla="*/ 589 h 869"/>
                  <a:gd name="T42" fmla="*/ 312 w 694"/>
                  <a:gd name="T43" fmla="*/ 630 h 869"/>
                  <a:gd name="T44" fmla="*/ 312 w 694"/>
                  <a:gd name="T45" fmla="*/ 796 h 869"/>
                  <a:gd name="T46" fmla="*/ 241 w 694"/>
                  <a:gd name="T47" fmla="*/ 869 h 869"/>
                  <a:gd name="T48" fmla="*/ 170 w 694"/>
                  <a:gd name="T49" fmla="*/ 796 h 869"/>
                  <a:gd name="T50" fmla="*/ 170 w 694"/>
                  <a:gd name="T51" fmla="*/ 542 h 869"/>
                  <a:gd name="T52" fmla="*/ 170 w 694"/>
                  <a:gd name="T53" fmla="*/ 542 h 86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694" h="869">
                    <a:moveTo>
                      <a:pt x="170" y="542"/>
                    </a:moveTo>
                    <a:cubicBezTo>
                      <a:pt x="170" y="460"/>
                      <a:pt x="169" y="377"/>
                      <a:pt x="170" y="294"/>
                    </a:cubicBezTo>
                    <a:cubicBezTo>
                      <a:pt x="170" y="277"/>
                      <a:pt x="165" y="264"/>
                      <a:pt x="152" y="252"/>
                    </a:cubicBezTo>
                    <a:cubicBezTo>
                      <a:pt x="112" y="213"/>
                      <a:pt x="73" y="173"/>
                      <a:pt x="33" y="133"/>
                    </a:cubicBezTo>
                    <a:cubicBezTo>
                      <a:pt x="0" y="99"/>
                      <a:pt x="1" y="53"/>
                      <a:pt x="35" y="24"/>
                    </a:cubicBezTo>
                    <a:cubicBezTo>
                      <a:pt x="63" y="0"/>
                      <a:pt x="103" y="0"/>
                      <a:pt x="132" y="29"/>
                    </a:cubicBezTo>
                    <a:cubicBezTo>
                      <a:pt x="173" y="67"/>
                      <a:pt x="212" y="107"/>
                      <a:pt x="251" y="148"/>
                    </a:cubicBezTo>
                    <a:cubicBezTo>
                      <a:pt x="265" y="162"/>
                      <a:pt x="279" y="168"/>
                      <a:pt x="299" y="168"/>
                    </a:cubicBezTo>
                    <a:cubicBezTo>
                      <a:pt x="332" y="167"/>
                      <a:pt x="366" y="167"/>
                      <a:pt x="400" y="168"/>
                    </a:cubicBezTo>
                    <a:cubicBezTo>
                      <a:pt x="418" y="168"/>
                      <a:pt x="431" y="163"/>
                      <a:pt x="443" y="151"/>
                    </a:cubicBezTo>
                    <a:cubicBezTo>
                      <a:pt x="481" y="112"/>
                      <a:pt x="519" y="74"/>
                      <a:pt x="557" y="36"/>
                    </a:cubicBezTo>
                    <a:cubicBezTo>
                      <a:pt x="590" y="3"/>
                      <a:pt x="635" y="1"/>
                      <a:pt x="664" y="31"/>
                    </a:cubicBezTo>
                    <a:cubicBezTo>
                      <a:pt x="694" y="61"/>
                      <a:pt x="692" y="105"/>
                      <a:pt x="659" y="138"/>
                    </a:cubicBezTo>
                    <a:cubicBezTo>
                      <a:pt x="619" y="178"/>
                      <a:pt x="580" y="218"/>
                      <a:pt x="539" y="258"/>
                    </a:cubicBezTo>
                    <a:cubicBezTo>
                      <a:pt x="526" y="270"/>
                      <a:pt x="521" y="284"/>
                      <a:pt x="521" y="302"/>
                    </a:cubicBezTo>
                    <a:cubicBezTo>
                      <a:pt x="521" y="438"/>
                      <a:pt x="522" y="574"/>
                      <a:pt x="522" y="710"/>
                    </a:cubicBezTo>
                    <a:cubicBezTo>
                      <a:pt x="522" y="740"/>
                      <a:pt x="521" y="771"/>
                      <a:pt x="521" y="802"/>
                    </a:cubicBezTo>
                    <a:cubicBezTo>
                      <a:pt x="520" y="839"/>
                      <a:pt x="489" y="869"/>
                      <a:pt x="451" y="869"/>
                    </a:cubicBezTo>
                    <a:cubicBezTo>
                      <a:pt x="412" y="869"/>
                      <a:pt x="380" y="840"/>
                      <a:pt x="380" y="802"/>
                    </a:cubicBezTo>
                    <a:cubicBezTo>
                      <a:pt x="379" y="740"/>
                      <a:pt x="378" y="677"/>
                      <a:pt x="380" y="614"/>
                    </a:cubicBezTo>
                    <a:cubicBezTo>
                      <a:pt x="380" y="594"/>
                      <a:pt x="373" y="588"/>
                      <a:pt x="353" y="589"/>
                    </a:cubicBezTo>
                    <a:cubicBezTo>
                      <a:pt x="306" y="590"/>
                      <a:pt x="312" y="586"/>
                      <a:pt x="312" y="630"/>
                    </a:cubicBezTo>
                    <a:cubicBezTo>
                      <a:pt x="312" y="685"/>
                      <a:pt x="312" y="740"/>
                      <a:pt x="312" y="796"/>
                    </a:cubicBezTo>
                    <a:cubicBezTo>
                      <a:pt x="312" y="838"/>
                      <a:pt x="282" y="869"/>
                      <a:pt x="241" y="869"/>
                    </a:cubicBezTo>
                    <a:cubicBezTo>
                      <a:pt x="201" y="869"/>
                      <a:pt x="170" y="839"/>
                      <a:pt x="170" y="796"/>
                    </a:cubicBezTo>
                    <a:cubicBezTo>
                      <a:pt x="169" y="711"/>
                      <a:pt x="170" y="627"/>
                      <a:pt x="170" y="542"/>
                    </a:cubicBezTo>
                    <a:cubicBezTo>
                      <a:pt x="170" y="542"/>
                      <a:pt x="170" y="542"/>
                      <a:pt x="170" y="54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07" name="Freeform 40"/>
              <p:cNvSpPr>
                <a:spLocks/>
              </p:cNvSpPr>
              <p:nvPr/>
            </p:nvSpPr>
            <p:spPr bwMode="auto">
              <a:xfrm>
                <a:off x="-2816956" y="7478713"/>
                <a:ext cx="1582742" cy="919164"/>
              </a:xfrm>
              <a:custGeom>
                <a:avLst/>
                <a:gdLst>
                  <a:gd name="T0" fmla="*/ 356 w 498"/>
                  <a:gd name="T1" fmla="*/ 50 h 289"/>
                  <a:gd name="T2" fmla="*/ 432 w 498"/>
                  <a:gd name="T3" fmla="*/ 4 h 289"/>
                  <a:gd name="T4" fmla="*/ 495 w 498"/>
                  <a:gd name="T5" fmla="*/ 59 h 289"/>
                  <a:gd name="T6" fmla="*/ 481 w 498"/>
                  <a:gd name="T7" fmla="*/ 76 h 289"/>
                  <a:gd name="T8" fmla="*/ 377 w 498"/>
                  <a:gd name="T9" fmla="*/ 76 h 289"/>
                  <a:gd name="T10" fmla="*/ 341 w 498"/>
                  <a:gd name="T11" fmla="*/ 254 h 289"/>
                  <a:gd name="T12" fmla="*/ 235 w 498"/>
                  <a:gd name="T13" fmla="*/ 286 h 289"/>
                  <a:gd name="T14" fmla="*/ 125 w 498"/>
                  <a:gd name="T15" fmla="*/ 212 h 289"/>
                  <a:gd name="T16" fmla="*/ 124 w 498"/>
                  <a:gd name="T17" fmla="*/ 77 h 289"/>
                  <a:gd name="T18" fmla="*/ 29 w 498"/>
                  <a:gd name="T19" fmla="*/ 77 h 289"/>
                  <a:gd name="T20" fmla="*/ 10 w 498"/>
                  <a:gd name="T21" fmla="*/ 47 h 289"/>
                  <a:gd name="T22" fmla="*/ 65 w 498"/>
                  <a:gd name="T23" fmla="*/ 4 h 289"/>
                  <a:gd name="T24" fmla="*/ 132 w 498"/>
                  <a:gd name="T25" fmla="*/ 31 h 289"/>
                  <a:gd name="T26" fmla="*/ 145 w 498"/>
                  <a:gd name="T27" fmla="*/ 49 h 289"/>
                  <a:gd name="T28" fmla="*/ 250 w 498"/>
                  <a:gd name="T29" fmla="*/ 3 h 289"/>
                  <a:gd name="T30" fmla="*/ 356 w 498"/>
                  <a:gd name="T31" fmla="*/ 50 h 2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498" h="289">
                    <a:moveTo>
                      <a:pt x="356" y="50"/>
                    </a:moveTo>
                    <a:cubicBezTo>
                      <a:pt x="374" y="18"/>
                      <a:pt x="397" y="1"/>
                      <a:pt x="432" y="4"/>
                    </a:cubicBezTo>
                    <a:cubicBezTo>
                      <a:pt x="461" y="6"/>
                      <a:pt x="489" y="30"/>
                      <a:pt x="495" y="59"/>
                    </a:cubicBezTo>
                    <a:cubicBezTo>
                      <a:pt x="498" y="71"/>
                      <a:pt x="494" y="76"/>
                      <a:pt x="481" y="76"/>
                    </a:cubicBezTo>
                    <a:cubicBezTo>
                      <a:pt x="448" y="76"/>
                      <a:pt x="415" y="76"/>
                      <a:pt x="377" y="76"/>
                    </a:cubicBezTo>
                    <a:cubicBezTo>
                      <a:pt x="402" y="144"/>
                      <a:pt x="397" y="205"/>
                      <a:pt x="341" y="254"/>
                    </a:cubicBezTo>
                    <a:cubicBezTo>
                      <a:pt x="311" y="280"/>
                      <a:pt x="274" y="289"/>
                      <a:pt x="235" y="286"/>
                    </a:cubicBezTo>
                    <a:cubicBezTo>
                      <a:pt x="185" y="282"/>
                      <a:pt x="150" y="254"/>
                      <a:pt x="125" y="212"/>
                    </a:cubicBezTo>
                    <a:cubicBezTo>
                      <a:pt x="100" y="169"/>
                      <a:pt x="107" y="124"/>
                      <a:pt x="124" y="77"/>
                    </a:cubicBezTo>
                    <a:cubicBezTo>
                      <a:pt x="90" y="77"/>
                      <a:pt x="59" y="77"/>
                      <a:pt x="29" y="77"/>
                    </a:cubicBezTo>
                    <a:cubicBezTo>
                      <a:pt x="3" y="76"/>
                      <a:pt x="0" y="71"/>
                      <a:pt x="10" y="47"/>
                    </a:cubicBezTo>
                    <a:cubicBezTo>
                      <a:pt x="20" y="22"/>
                      <a:pt x="39" y="8"/>
                      <a:pt x="65" y="4"/>
                    </a:cubicBezTo>
                    <a:cubicBezTo>
                      <a:pt x="93" y="0"/>
                      <a:pt x="115" y="9"/>
                      <a:pt x="132" y="31"/>
                    </a:cubicBezTo>
                    <a:cubicBezTo>
                      <a:pt x="136" y="36"/>
                      <a:pt x="140" y="42"/>
                      <a:pt x="145" y="49"/>
                    </a:cubicBezTo>
                    <a:cubicBezTo>
                      <a:pt x="175" y="20"/>
                      <a:pt x="209" y="3"/>
                      <a:pt x="250" y="3"/>
                    </a:cubicBezTo>
                    <a:cubicBezTo>
                      <a:pt x="291" y="4"/>
                      <a:pt x="325" y="19"/>
                      <a:pt x="356" y="5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  <p:sp>
            <p:nvSpPr>
              <p:cNvPr id="108" name="Freeform 41"/>
              <p:cNvSpPr>
                <a:spLocks/>
              </p:cNvSpPr>
              <p:nvPr/>
            </p:nvSpPr>
            <p:spPr bwMode="auto">
              <a:xfrm>
                <a:off x="-523640" y="7491409"/>
                <a:ext cx="903287" cy="900110"/>
              </a:xfrm>
              <a:custGeom>
                <a:avLst/>
                <a:gdLst>
                  <a:gd name="T0" fmla="*/ 143 w 284"/>
                  <a:gd name="T1" fmla="*/ 0 h 283"/>
                  <a:gd name="T2" fmla="*/ 283 w 284"/>
                  <a:gd name="T3" fmla="*/ 141 h 283"/>
                  <a:gd name="T4" fmla="*/ 140 w 284"/>
                  <a:gd name="T5" fmla="*/ 282 h 283"/>
                  <a:gd name="T6" fmla="*/ 0 w 284"/>
                  <a:gd name="T7" fmla="*/ 140 h 283"/>
                  <a:gd name="T8" fmla="*/ 143 w 284"/>
                  <a:gd name="T9" fmla="*/ 0 h 28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284" h="283">
                    <a:moveTo>
                      <a:pt x="143" y="0"/>
                    </a:moveTo>
                    <a:cubicBezTo>
                      <a:pt x="222" y="0"/>
                      <a:pt x="284" y="63"/>
                      <a:pt x="283" y="141"/>
                    </a:cubicBezTo>
                    <a:cubicBezTo>
                      <a:pt x="283" y="220"/>
                      <a:pt x="219" y="283"/>
                      <a:pt x="140" y="282"/>
                    </a:cubicBezTo>
                    <a:cubicBezTo>
                      <a:pt x="61" y="281"/>
                      <a:pt x="0" y="219"/>
                      <a:pt x="0" y="140"/>
                    </a:cubicBezTo>
                    <a:cubicBezTo>
                      <a:pt x="1" y="60"/>
                      <a:pt x="62" y="0"/>
                      <a:pt x="143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xmlns="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ru-RU" dirty="0"/>
              </a:p>
            </p:txBody>
          </p:sp>
        </p:grpSp>
      </p:grpSp>
      <p:sp>
        <p:nvSpPr>
          <p:cNvPr id="109" name="Прямоугольник 108"/>
          <p:cNvSpPr/>
          <p:nvPr/>
        </p:nvSpPr>
        <p:spPr>
          <a:xfrm>
            <a:off x="251520" y="40466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на меры социальной поддержки населения в 2021 году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110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11" name="Text Box 14"/>
          <p:cNvSpPr txBox="1">
            <a:spLocks noChangeArrowheads="1"/>
          </p:cNvSpPr>
          <p:nvPr/>
        </p:nvSpPr>
        <p:spPr bwMode="auto">
          <a:xfrm>
            <a:off x="7452320" y="908720"/>
            <a:ext cx="1368425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Схема № 13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2000"/>
                                        <p:tgtEl>
                                          <p:spTgt spid="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2000"/>
                            </p:stCondLst>
                            <p:childTnLst>
                              <p:par>
                                <p:cTn id="1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2500"/>
                            </p:stCondLst>
                            <p:childTnLst>
                              <p:par>
                                <p:cTn id="16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8" dur="500"/>
                                        <p:tgtEl>
                                          <p:spTgt spid="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3000"/>
                            </p:stCondLst>
                            <p:childTnLst>
                              <p:par>
                                <p:cTn id="20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3500"/>
                            </p:stCondLst>
                            <p:childTnLst>
                              <p:par>
                                <p:cTn id="2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4000"/>
                            </p:stCondLst>
                            <p:childTnLst>
                              <p:par>
                                <p:cTn id="28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0" dur="500"/>
                                        <p:tgtEl>
                                          <p:spTgt spid="6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4500"/>
                            </p:stCondLst>
                            <p:childTnLst>
                              <p:par>
                                <p:cTn id="32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6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5" fill="hold">
                            <p:stCondLst>
                              <p:cond delay="5000"/>
                            </p:stCondLst>
                            <p:childTnLst>
                              <p:par>
                                <p:cTn id="3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8" dur="500"/>
                                        <p:tgtEl>
                                          <p:spTgt spid="10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5500"/>
                            </p:stCondLst>
                            <p:childTnLst>
                              <p:par>
                                <p:cTn id="40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2" dur="500"/>
                                        <p:tgtEl>
                                          <p:spTgt spid="10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3" fill="hold">
                            <p:stCondLst>
                              <p:cond delay="6000"/>
                            </p:stCondLst>
                            <p:childTnLst>
                              <p:par>
                                <p:cTn id="44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9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6500"/>
                            </p:stCondLst>
                            <p:childTnLst>
                              <p:par>
                                <p:cTn id="48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7000"/>
                            </p:stCondLst>
                            <p:childTnLst>
                              <p:par>
                                <p:cTn id="52" presetID="22" presetClass="entr" presetSubtype="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4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7500"/>
                            </p:stCondLst>
                            <p:childTnLst>
                              <p:par>
                                <p:cTn id="56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7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58" grpId="0">
        <p:bldAsOne/>
      </p:bldGraphic>
      <p:bldP spid="59" grpId="0" animBg="1"/>
    </p:bld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214282" y="3441398"/>
          <a:ext cx="8643938" cy="2457672"/>
        </p:xfrm>
        <a:graphic>
          <a:graphicData uri="http://schemas.openxmlformats.org/drawingml/2006/table">
            <a:tbl>
              <a:tblPr/>
              <a:tblGrid>
                <a:gridCol w="2857500"/>
                <a:gridCol w="1071563"/>
                <a:gridCol w="857250"/>
                <a:gridCol w="1000125"/>
                <a:gridCol w="857250"/>
                <a:gridCol w="1071562"/>
                <a:gridCol w="928688"/>
              </a:tblGrid>
              <a:tr h="559106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194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 тыс.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тыс.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06622">
                <a:tc>
                  <a:txBody>
                    <a:bodyPr/>
                    <a:lstStyle/>
                    <a:p>
                      <a:pPr marL="0" marR="0" lvl="0" indent="449263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оплата к пенсии гражданам, ставшим инвалидами при исполнении служебных обязанностей в районах боевых действий;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5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5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,5 </a:t>
                      </a:r>
                    </a:p>
                  </a:txBody>
                  <a:tcPr marL="48021" marR="48021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89" y="1928802"/>
            <a:ext cx="7527179" cy="11401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/>
              <a:t>Поддержка инвалидов</a:t>
            </a:r>
          </a:p>
          <a:p>
            <a:pPr indent="444500" algn="ctr">
              <a:defRPr/>
            </a:pPr>
            <a:r>
              <a:rPr lang="ru-RU" sz="1600" dirty="0"/>
              <a:t>На предоставление мер социальной поддержки, социальное обеспечение инвалидов в </a:t>
            </a:r>
            <a:r>
              <a:rPr lang="ru-RU" sz="1600" dirty="0" smtClean="0"/>
              <a:t>2021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2-2023 гг.</a:t>
            </a:r>
            <a:endParaRPr lang="ru-RU" sz="1600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расходах с учетом интересов целевых групп в социально-культурной сфере города-курорта Железноводска Ставропольского края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11" name="Группа 14"/>
          <p:cNvGrpSpPr/>
          <p:nvPr/>
        </p:nvGrpSpPr>
        <p:grpSpPr>
          <a:xfrm>
            <a:off x="7831283" y="2001770"/>
            <a:ext cx="906104" cy="784288"/>
            <a:chOff x="-9094704" y="-3608569"/>
            <a:chExt cx="10696296" cy="9258301"/>
          </a:xfrm>
          <a:solidFill>
            <a:schemeClr val="accent1">
              <a:lumMod val="75000"/>
            </a:schemeClr>
          </a:solidFill>
        </p:grpSpPr>
        <p:sp>
          <p:nvSpPr>
            <p:cNvPr id="12" name="Freeform 7"/>
            <p:cNvSpPr>
              <a:spLocks/>
            </p:cNvSpPr>
            <p:nvPr/>
          </p:nvSpPr>
          <p:spPr bwMode="auto">
            <a:xfrm>
              <a:off x="-9094704" y="-2116318"/>
              <a:ext cx="9608854" cy="7766050"/>
            </a:xfrm>
            <a:custGeom>
              <a:avLst/>
              <a:gdLst>
                <a:gd name="T0" fmla="*/ 0 w 3578"/>
                <a:gd name="T1" fmla="*/ 1919 h 2441"/>
                <a:gd name="T2" fmla="*/ 2 w 3578"/>
                <a:gd name="T3" fmla="*/ 1916 h 2441"/>
                <a:gd name="T4" fmla="*/ 113 w 3578"/>
                <a:gd name="T5" fmla="*/ 1792 h 2441"/>
                <a:gd name="T6" fmla="*/ 335 w 3578"/>
                <a:gd name="T7" fmla="*/ 1671 h 2441"/>
                <a:gd name="T8" fmla="*/ 648 w 3578"/>
                <a:gd name="T9" fmla="*/ 1113 h 2441"/>
                <a:gd name="T10" fmla="*/ 651 w 3578"/>
                <a:gd name="T11" fmla="*/ 973 h 2441"/>
                <a:gd name="T12" fmla="*/ 690 w 3578"/>
                <a:gd name="T13" fmla="*/ 819 h 2441"/>
                <a:gd name="T14" fmla="*/ 1176 w 3578"/>
                <a:gd name="T15" fmla="*/ 87 h 2441"/>
                <a:gd name="T16" fmla="*/ 1399 w 3578"/>
                <a:gd name="T17" fmla="*/ 18 h 2441"/>
                <a:gd name="T18" fmla="*/ 1569 w 3578"/>
                <a:gd name="T19" fmla="*/ 146 h 2441"/>
                <a:gd name="T20" fmla="*/ 1589 w 3578"/>
                <a:gd name="T21" fmla="*/ 163 h 2441"/>
                <a:gd name="T22" fmla="*/ 2182 w 3578"/>
                <a:gd name="T23" fmla="*/ 459 h 2441"/>
                <a:gd name="T24" fmla="*/ 2253 w 3578"/>
                <a:gd name="T25" fmla="*/ 540 h 2441"/>
                <a:gd name="T26" fmla="*/ 2254 w 3578"/>
                <a:gd name="T27" fmla="*/ 608 h 2441"/>
                <a:gd name="T28" fmla="*/ 2275 w 3578"/>
                <a:gd name="T29" fmla="*/ 618 h 2441"/>
                <a:gd name="T30" fmla="*/ 2320 w 3578"/>
                <a:gd name="T31" fmla="*/ 681 h 2441"/>
                <a:gd name="T32" fmla="*/ 2341 w 3578"/>
                <a:gd name="T33" fmla="*/ 996 h 2441"/>
                <a:gd name="T34" fmla="*/ 2344 w 3578"/>
                <a:gd name="T35" fmla="*/ 1015 h 2441"/>
                <a:gd name="T36" fmla="*/ 2356 w 3578"/>
                <a:gd name="T37" fmla="*/ 1015 h 2441"/>
                <a:gd name="T38" fmla="*/ 2412 w 3578"/>
                <a:gd name="T39" fmla="*/ 1049 h 2441"/>
                <a:gd name="T40" fmla="*/ 2400 w 3578"/>
                <a:gd name="T41" fmla="*/ 1113 h 2441"/>
                <a:gd name="T42" fmla="*/ 2285 w 3578"/>
                <a:gd name="T43" fmla="*/ 1266 h 2441"/>
                <a:gd name="T44" fmla="*/ 2726 w 3578"/>
                <a:gd name="T45" fmla="*/ 2255 h 2441"/>
                <a:gd name="T46" fmla="*/ 3453 w 3578"/>
                <a:gd name="T47" fmla="*/ 1962 h 2441"/>
                <a:gd name="T48" fmla="*/ 3513 w 3578"/>
                <a:gd name="T49" fmla="*/ 1929 h 2441"/>
                <a:gd name="T50" fmla="*/ 3552 w 3578"/>
                <a:gd name="T51" fmla="*/ 2018 h 2441"/>
                <a:gd name="T52" fmla="*/ 3436 w 3578"/>
                <a:gd name="T53" fmla="*/ 2161 h 2441"/>
                <a:gd name="T54" fmla="*/ 2652 w 3578"/>
                <a:gd name="T55" fmla="*/ 2352 h 2441"/>
                <a:gd name="T56" fmla="*/ 2108 w 3578"/>
                <a:gd name="T57" fmla="*/ 1768 h 2441"/>
                <a:gd name="T58" fmla="*/ 2226 w 3578"/>
                <a:gd name="T59" fmla="*/ 1146 h 2441"/>
                <a:gd name="T60" fmla="*/ 2235 w 3578"/>
                <a:gd name="T61" fmla="*/ 1115 h 2441"/>
                <a:gd name="T62" fmla="*/ 2209 w 3578"/>
                <a:gd name="T63" fmla="*/ 737 h 2441"/>
                <a:gd name="T64" fmla="*/ 2203 w 3578"/>
                <a:gd name="T65" fmla="*/ 713 h 2441"/>
                <a:gd name="T66" fmla="*/ 2156 w 3578"/>
                <a:gd name="T67" fmla="*/ 699 h 2441"/>
                <a:gd name="T68" fmla="*/ 2053 w 3578"/>
                <a:gd name="T69" fmla="*/ 683 h 2441"/>
                <a:gd name="T70" fmla="*/ 1548 w 3578"/>
                <a:gd name="T71" fmla="*/ 431 h 2441"/>
                <a:gd name="T72" fmla="*/ 1526 w 3578"/>
                <a:gd name="T73" fmla="*/ 420 h 2441"/>
                <a:gd name="T74" fmla="*/ 1477 w 3578"/>
                <a:gd name="T75" fmla="*/ 483 h 2441"/>
                <a:gd name="T76" fmla="*/ 1148 w 3578"/>
                <a:gd name="T77" fmla="*/ 993 h 2441"/>
                <a:gd name="T78" fmla="*/ 1153 w 3578"/>
                <a:gd name="T79" fmla="*/ 1021 h 2441"/>
                <a:gd name="T80" fmla="*/ 1398 w 3578"/>
                <a:gd name="T81" fmla="*/ 1408 h 2441"/>
                <a:gd name="T82" fmla="*/ 1615 w 3578"/>
                <a:gd name="T83" fmla="*/ 2020 h 2441"/>
                <a:gd name="T84" fmla="*/ 1606 w 3578"/>
                <a:gd name="T85" fmla="*/ 2130 h 2441"/>
                <a:gd name="T86" fmla="*/ 1418 w 3578"/>
                <a:gd name="T87" fmla="*/ 2204 h 2441"/>
                <a:gd name="T88" fmla="*/ 1296 w 3578"/>
                <a:gd name="T89" fmla="*/ 2072 h 2441"/>
                <a:gd name="T90" fmla="*/ 1096 w 3578"/>
                <a:gd name="T91" fmla="*/ 1525 h 2441"/>
                <a:gd name="T92" fmla="*/ 956 w 3578"/>
                <a:gd name="T93" fmla="*/ 1299 h 2441"/>
                <a:gd name="T94" fmla="*/ 947 w 3578"/>
                <a:gd name="T95" fmla="*/ 1286 h 2441"/>
                <a:gd name="T96" fmla="*/ 938 w 3578"/>
                <a:gd name="T97" fmla="*/ 1323 h 2441"/>
                <a:gd name="T98" fmla="*/ 388 w 3578"/>
                <a:gd name="T99" fmla="*/ 2015 h 2441"/>
                <a:gd name="T100" fmla="*/ 205 w 3578"/>
                <a:gd name="T101" fmla="*/ 2097 h 2441"/>
                <a:gd name="T102" fmla="*/ 3 w 3578"/>
                <a:gd name="T103" fmla="*/ 1974 h 2441"/>
                <a:gd name="T104" fmla="*/ 0 w 3578"/>
                <a:gd name="T105" fmla="*/ 1967 h 2441"/>
                <a:gd name="T106" fmla="*/ 0 w 3578"/>
                <a:gd name="T107" fmla="*/ 1919 h 2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3578" h="2441">
                  <a:moveTo>
                    <a:pt x="0" y="1919"/>
                  </a:moveTo>
                  <a:cubicBezTo>
                    <a:pt x="1" y="1918"/>
                    <a:pt x="2" y="1917"/>
                    <a:pt x="2" y="1916"/>
                  </a:cubicBezTo>
                  <a:cubicBezTo>
                    <a:pt x="15" y="1853"/>
                    <a:pt x="55" y="1815"/>
                    <a:pt x="113" y="1792"/>
                  </a:cubicBezTo>
                  <a:cubicBezTo>
                    <a:pt x="192" y="1761"/>
                    <a:pt x="266" y="1721"/>
                    <a:pt x="335" y="1671"/>
                  </a:cubicBezTo>
                  <a:cubicBezTo>
                    <a:pt x="523" y="1532"/>
                    <a:pt x="629" y="1347"/>
                    <a:pt x="648" y="1113"/>
                  </a:cubicBezTo>
                  <a:cubicBezTo>
                    <a:pt x="652" y="1067"/>
                    <a:pt x="652" y="1020"/>
                    <a:pt x="651" y="973"/>
                  </a:cubicBezTo>
                  <a:cubicBezTo>
                    <a:pt x="650" y="918"/>
                    <a:pt x="663" y="867"/>
                    <a:pt x="690" y="819"/>
                  </a:cubicBezTo>
                  <a:cubicBezTo>
                    <a:pt x="832" y="561"/>
                    <a:pt x="993" y="317"/>
                    <a:pt x="1176" y="87"/>
                  </a:cubicBezTo>
                  <a:cubicBezTo>
                    <a:pt x="1234" y="13"/>
                    <a:pt x="1313" y="0"/>
                    <a:pt x="1399" y="18"/>
                  </a:cubicBezTo>
                  <a:cubicBezTo>
                    <a:pt x="1475" y="33"/>
                    <a:pt x="1533" y="76"/>
                    <a:pt x="1569" y="146"/>
                  </a:cubicBezTo>
                  <a:cubicBezTo>
                    <a:pt x="1572" y="153"/>
                    <a:pt x="1581" y="159"/>
                    <a:pt x="1589" y="163"/>
                  </a:cubicBezTo>
                  <a:cubicBezTo>
                    <a:pt x="1787" y="262"/>
                    <a:pt x="1984" y="361"/>
                    <a:pt x="2182" y="459"/>
                  </a:cubicBezTo>
                  <a:cubicBezTo>
                    <a:pt x="2217" y="477"/>
                    <a:pt x="2246" y="499"/>
                    <a:pt x="2253" y="540"/>
                  </a:cubicBezTo>
                  <a:cubicBezTo>
                    <a:pt x="2257" y="561"/>
                    <a:pt x="2254" y="583"/>
                    <a:pt x="2254" y="608"/>
                  </a:cubicBezTo>
                  <a:cubicBezTo>
                    <a:pt x="2258" y="610"/>
                    <a:pt x="2266" y="615"/>
                    <a:pt x="2275" y="618"/>
                  </a:cubicBezTo>
                  <a:cubicBezTo>
                    <a:pt x="2305" y="628"/>
                    <a:pt x="2318" y="650"/>
                    <a:pt x="2320" y="681"/>
                  </a:cubicBezTo>
                  <a:cubicBezTo>
                    <a:pt x="2327" y="786"/>
                    <a:pt x="2334" y="891"/>
                    <a:pt x="2341" y="996"/>
                  </a:cubicBezTo>
                  <a:cubicBezTo>
                    <a:pt x="2341" y="1002"/>
                    <a:pt x="2343" y="1008"/>
                    <a:pt x="2344" y="1015"/>
                  </a:cubicBezTo>
                  <a:cubicBezTo>
                    <a:pt x="2348" y="1015"/>
                    <a:pt x="2352" y="1015"/>
                    <a:pt x="2356" y="1015"/>
                  </a:cubicBezTo>
                  <a:cubicBezTo>
                    <a:pt x="2382" y="1014"/>
                    <a:pt x="2401" y="1025"/>
                    <a:pt x="2412" y="1049"/>
                  </a:cubicBezTo>
                  <a:cubicBezTo>
                    <a:pt x="2422" y="1072"/>
                    <a:pt x="2418" y="1095"/>
                    <a:pt x="2400" y="1113"/>
                  </a:cubicBezTo>
                  <a:cubicBezTo>
                    <a:pt x="2355" y="1159"/>
                    <a:pt x="2316" y="1210"/>
                    <a:pt x="2285" y="1266"/>
                  </a:cubicBezTo>
                  <a:cubicBezTo>
                    <a:pt x="2068" y="1654"/>
                    <a:pt x="2292" y="2157"/>
                    <a:pt x="2726" y="2255"/>
                  </a:cubicBezTo>
                  <a:cubicBezTo>
                    <a:pt x="3011" y="2320"/>
                    <a:pt x="3290" y="2207"/>
                    <a:pt x="3453" y="1962"/>
                  </a:cubicBezTo>
                  <a:cubicBezTo>
                    <a:pt x="3467" y="1940"/>
                    <a:pt x="3485" y="1925"/>
                    <a:pt x="3513" y="1929"/>
                  </a:cubicBezTo>
                  <a:cubicBezTo>
                    <a:pt x="3556" y="1934"/>
                    <a:pt x="3578" y="1982"/>
                    <a:pt x="3552" y="2018"/>
                  </a:cubicBezTo>
                  <a:cubicBezTo>
                    <a:pt x="3516" y="2068"/>
                    <a:pt x="3481" y="2119"/>
                    <a:pt x="3436" y="2161"/>
                  </a:cubicBezTo>
                  <a:cubicBezTo>
                    <a:pt x="3212" y="2373"/>
                    <a:pt x="2946" y="2441"/>
                    <a:pt x="2652" y="2352"/>
                  </a:cubicBezTo>
                  <a:cubicBezTo>
                    <a:pt x="2362" y="2264"/>
                    <a:pt x="2179" y="2063"/>
                    <a:pt x="2108" y="1768"/>
                  </a:cubicBezTo>
                  <a:cubicBezTo>
                    <a:pt x="2055" y="1545"/>
                    <a:pt x="2099" y="1337"/>
                    <a:pt x="2226" y="1146"/>
                  </a:cubicBezTo>
                  <a:cubicBezTo>
                    <a:pt x="2232" y="1138"/>
                    <a:pt x="2236" y="1126"/>
                    <a:pt x="2235" y="1115"/>
                  </a:cubicBezTo>
                  <a:cubicBezTo>
                    <a:pt x="2227" y="989"/>
                    <a:pt x="2218" y="863"/>
                    <a:pt x="2209" y="737"/>
                  </a:cubicBezTo>
                  <a:cubicBezTo>
                    <a:pt x="2209" y="728"/>
                    <a:pt x="2208" y="715"/>
                    <a:pt x="2203" y="713"/>
                  </a:cubicBezTo>
                  <a:cubicBezTo>
                    <a:pt x="2188" y="706"/>
                    <a:pt x="2170" y="696"/>
                    <a:pt x="2156" y="699"/>
                  </a:cubicBezTo>
                  <a:cubicBezTo>
                    <a:pt x="2119" y="705"/>
                    <a:pt x="2086" y="700"/>
                    <a:pt x="2053" y="683"/>
                  </a:cubicBezTo>
                  <a:cubicBezTo>
                    <a:pt x="1885" y="599"/>
                    <a:pt x="1716" y="515"/>
                    <a:pt x="1548" y="431"/>
                  </a:cubicBezTo>
                  <a:cubicBezTo>
                    <a:pt x="1541" y="427"/>
                    <a:pt x="1535" y="424"/>
                    <a:pt x="1526" y="420"/>
                  </a:cubicBezTo>
                  <a:cubicBezTo>
                    <a:pt x="1510" y="441"/>
                    <a:pt x="1493" y="462"/>
                    <a:pt x="1477" y="483"/>
                  </a:cubicBezTo>
                  <a:cubicBezTo>
                    <a:pt x="1355" y="645"/>
                    <a:pt x="1248" y="817"/>
                    <a:pt x="1148" y="993"/>
                  </a:cubicBezTo>
                  <a:cubicBezTo>
                    <a:pt x="1140" y="1006"/>
                    <a:pt x="1146" y="1012"/>
                    <a:pt x="1153" y="1021"/>
                  </a:cubicBezTo>
                  <a:cubicBezTo>
                    <a:pt x="1247" y="1142"/>
                    <a:pt x="1328" y="1272"/>
                    <a:pt x="1398" y="1408"/>
                  </a:cubicBezTo>
                  <a:cubicBezTo>
                    <a:pt x="1498" y="1603"/>
                    <a:pt x="1569" y="1807"/>
                    <a:pt x="1615" y="2020"/>
                  </a:cubicBezTo>
                  <a:cubicBezTo>
                    <a:pt x="1623" y="2057"/>
                    <a:pt x="1622" y="2094"/>
                    <a:pt x="1606" y="2130"/>
                  </a:cubicBezTo>
                  <a:cubicBezTo>
                    <a:pt x="1575" y="2194"/>
                    <a:pt x="1495" y="2227"/>
                    <a:pt x="1418" y="2204"/>
                  </a:cubicBezTo>
                  <a:cubicBezTo>
                    <a:pt x="1351" y="2185"/>
                    <a:pt x="1311" y="2140"/>
                    <a:pt x="1296" y="2072"/>
                  </a:cubicBezTo>
                  <a:cubicBezTo>
                    <a:pt x="1255" y="1880"/>
                    <a:pt x="1191" y="1696"/>
                    <a:pt x="1096" y="1525"/>
                  </a:cubicBezTo>
                  <a:cubicBezTo>
                    <a:pt x="1053" y="1448"/>
                    <a:pt x="1003" y="1374"/>
                    <a:pt x="956" y="1299"/>
                  </a:cubicBezTo>
                  <a:cubicBezTo>
                    <a:pt x="954" y="1295"/>
                    <a:pt x="952" y="1293"/>
                    <a:pt x="947" y="1286"/>
                  </a:cubicBezTo>
                  <a:cubicBezTo>
                    <a:pt x="943" y="1300"/>
                    <a:pt x="940" y="1312"/>
                    <a:pt x="938" y="1323"/>
                  </a:cubicBezTo>
                  <a:cubicBezTo>
                    <a:pt x="858" y="1636"/>
                    <a:pt x="669" y="1862"/>
                    <a:pt x="388" y="2015"/>
                  </a:cubicBezTo>
                  <a:cubicBezTo>
                    <a:pt x="329" y="2047"/>
                    <a:pt x="268" y="2078"/>
                    <a:pt x="205" y="2097"/>
                  </a:cubicBezTo>
                  <a:cubicBezTo>
                    <a:pt x="107" y="2128"/>
                    <a:pt x="25" y="2075"/>
                    <a:pt x="3" y="1974"/>
                  </a:cubicBezTo>
                  <a:cubicBezTo>
                    <a:pt x="3" y="1972"/>
                    <a:pt x="1" y="1969"/>
                    <a:pt x="0" y="1967"/>
                  </a:cubicBezTo>
                  <a:cubicBezTo>
                    <a:pt x="0" y="1951"/>
                    <a:pt x="0" y="1935"/>
                    <a:pt x="0" y="191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8"/>
            <p:cNvSpPr>
              <a:spLocks noEditPoints="1"/>
            </p:cNvSpPr>
            <p:nvPr/>
          </p:nvSpPr>
          <p:spPr bwMode="auto">
            <a:xfrm>
              <a:off x="-2367545" y="-1193978"/>
              <a:ext cx="3969137" cy="5924553"/>
            </a:xfrm>
            <a:custGeom>
              <a:avLst/>
              <a:gdLst>
                <a:gd name="T0" fmla="*/ 1478 w 1478"/>
                <a:gd name="T1" fmla="*/ 1725 h 1862"/>
                <a:gd name="T2" fmla="*/ 1475 w 1478"/>
                <a:gd name="T3" fmla="*/ 1732 h 1862"/>
                <a:gd name="T4" fmla="*/ 1369 w 1478"/>
                <a:gd name="T5" fmla="*/ 1846 h 1862"/>
                <a:gd name="T6" fmla="*/ 1211 w 1478"/>
                <a:gd name="T7" fmla="*/ 1798 h 1862"/>
                <a:gd name="T8" fmla="*/ 1170 w 1478"/>
                <a:gd name="T9" fmla="*/ 1730 h 1862"/>
                <a:gd name="T10" fmla="*/ 938 w 1478"/>
                <a:gd name="T11" fmla="*/ 1178 h 1862"/>
                <a:gd name="T12" fmla="*/ 930 w 1478"/>
                <a:gd name="T13" fmla="*/ 1160 h 1862"/>
                <a:gd name="T14" fmla="*/ 670 w 1478"/>
                <a:gd name="T15" fmla="*/ 1160 h 1862"/>
                <a:gd name="T16" fmla="*/ 189 w 1478"/>
                <a:gd name="T17" fmla="*/ 1157 h 1862"/>
                <a:gd name="T18" fmla="*/ 3 w 1478"/>
                <a:gd name="T19" fmla="*/ 977 h 1862"/>
                <a:gd name="T20" fmla="*/ 12 w 1478"/>
                <a:gd name="T21" fmla="*/ 780 h 1862"/>
                <a:gd name="T22" fmla="*/ 94 w 1478"/>
                <a:gd name="T23" fmla="*/ 202 h 1862"/>
                <a:gd name="T24" fmla="*/ 273 w 1478"/>
                <a:gd name="T25" fmla="*/ 21 h 1862"/>
                <a:gd name="T26" fmla="*/ 497 w 1478"/>
                <a:gd name="T27" fmla="*/ 90 h 1862"/>
                <a:gd name="T28" fmla="*/ 723 w 1478"/>
                <a:gd name="T29" fmla="*/ 341 h 1862"/>
                <a:gd name="T30" fmla="*/ 974 w 1478"/>
                <a:gd name="T31" fmla="*/ 601 h 1862"/>
                <a:gd name="T32" fmla="*/ 946 w 1478"/>
                <a:gd name="T33" fmla="*/ 831 h 1862"/>
                <a:gd name="T34" fmla="*/ 929 w 1478"/>
                <a:gd name="T35" fmla="*/ 841 h 1862"/>
                <a:gd name="T36" fmla="*/ 1005 w 1478"/>
                <a:gd name="T37" fmla="*/ 845 h 1862"/>
                <a:gd name="T38" fmla="*/ 1188 w 1478"/>
                <a:gd name="T39" fmla="*/ 973 h 1862"/>
                <a:gd name="T40" fmla="*/ 1458 w 1478"/>
                <a:gd name="T41" fmla="*/ 1611 h 1862"/>
                <a:gd name="T42" fmla="*/ 1478 w 1478"/>
                <a:gd name="T43" fmla="*/ 1673 h 1862"/>
                <a:gd name="T44" fmla="*/ 1478 w 1478"/>
                <a:gd name="T45" fmla="*/ 1725 h 1862"/>
                <a:gd name="T46" fmla="*/ 492 w 1478"/>
                <a:gd name="T47" fmla="*/ 836 h 1862"/>
                <a:gd name="T48" fmla="*/ 817 w 1478"/>
                <a:gd name="T49" fmla="*/ 843 h 1862"/>
                <a:gd name="T50" fmla="*/ 525 w 1478"/>
                <a:gd name="T51" fmla="*/ 555 h 1862"/>
                <a:gd name="T52" fmla="*/ 492 w 1478"/>
                <a:gd name="T53" fmla="*/ 836 h 1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78" h="1862">
                  <a:moveTo>
                    <a:pt x="1478" y="1725"/>
                  </a:moveTo>
                  <a:cubicBezTo>
                    <a:pt x="1477" y="1727"/>
                    <a:pt x="1475" y="1730"/>
                    <a:pt x="1475" y="1732"/>
                  </a:cubicBezTo>
                  <a:cubicBezTo>
                    <a:pt x="1464" y="1793"/>
                    <a:pt x="1428" y="1831"/>
                    <a:pt x="1369" y="1846"/>
                  </a:cubicBezTo>
                  <a:cubicBezTo>
                    <a:pt x="1306" y="1862"/>
                    <a:pt x="1253" y="1845"/>
                    <a:pt x="1211" y="1798"/>
                  </a:cubicBezTo>
                  <a:cubicBezTo>
                    <a:pt x="1194" y="1778"/>
                    <a:pt x="1180" y="1754"/>
                    <a:pt x="1170" y="1730"/>
                  </a:cubicBezTo>
                  <a:cubicBezTo>
                    <a:pt x="1092" y="1546"/>
                    <a:pt x="1015" y="1362"/>
                    <a:pt x="938" y="1178"/>
                  </a:cubicBezTo>
                  <a:cubicBezTo>
                    <a:pt x="935" y="1171"/>
                    <a:pt x="932" y="1165"/>
                    <a:pt x="930" y="1160"/>
                  </a:cubicBezTo>
                  <a:cubicBezTo>
                    <a:pt x="842" y="1160"/>
                    <a:pt x="756" y="1160"/>
                    <a:pt x="670" y="1160"/>
                  </a:cubicBezTo>
                  <a:cubicBezTo>
                    <a:pt x="510" y="1159"/>
                    <a:pt x="349" y="1159"/>
                    <a:pt x="189" y="1157"/>
                  </a:cubicBezTo>
                  <a:cubicBezTo>
                    <a:pt x="85" y="1155"/>
                    <a:pt x="9" y="1083"/>
                    <a:pt x="3" y="977"/>
                  </a:cubicBezTo>
                  <a:cubicBezTo>
                    <a:pt x="0" y="911"/>
                    <a:pt x="4" y="845"/>
                    <a:pt x="12" y="780"/>
                  </a:cubicBezTo>
                  <a:cubicBezTo>
                    <a:pt x="37" y="587"/>
                    <a:pt x="65" y="394"/>
                    <a:pt x="94" y="202"/>
                  </a:cubicBezTo>
                  <a:cubicBezTo>
                    <a:pt x="107" y="111"/>
                    <a:pt x="176" y="44"/>
                    <a:pt x="273" y="21"/>
                  </a:cubicBezTo>
                  <a:cubicBezTo>
                    <a:pt x="362" y="0"/>
                    <a:pt x="436" y="26"/>
                    <a:pt x="497" y="90"/>
                  </a:cubicBezTo>
                  <a:cubicBezTo>
                    <a:pt x="574" y="172"/>
                    <a:pt x="646" y="259"/>
                    <a:pt x="723" y="341"/>
                  </a:cubicBezTo>
                  <a:cubicBezTo>
                    <a:pt x="805" y="429"/>
                    <a:pt x="887" y="519"/>
                    <a:pt x="974" y="601"/>
                  </a:cubicBezTo>
                  <a:cubicBezTo>
                    <a:pt x="1067" y="688"/>
                    <a:pt x="1019" y="791"/>
                    <a:pt x="946" y="831"/>
                  </a:cubicBezTo>
                  <a:cubicBezTo>
                    <a:pt x="942" y="833"/>
                    <a:pt x="938" y="836"/>
                    <a:pt x="929" y="841"/>
                  </a:cubicBezTo>
                  <a:cubicBezTo>
                    <a:pt x="958" y="842"/>
                    <a:pt x="981" y="843"/>
                    <a:pt x="1005" y="845"/>
                  </a:cubicBezTo>
                  <a:cubicBezTo>
                    <a:pt x="1093" y="849"/>
                    <a:pt x="1153" y="891"/>
                    <a:pt x="1188" y="973"/>
                  </a:cubicBezTo>
                  <a:cubicBezTo>
                    <a:pt x="1277" y="1186"/>
                    <a:pt x="1368" y="1398"/>
                    <a:pt x="1458" y="1611"/>
                  </a:cubicBezTo>
                  <a:cubicBezTo>
                    <a:pt x="1466" y="1631"/>
                    <a:pt x="1471" y="1652"/>
                    <a:pt x="1478" y="1673"/>
                  </a:cubicBezTo>
                  <a:cubicBezTo>
                    <a:pt x="1478" y="1690"/>
                    <a:pt x="1478" y="1708"/>
                    <a:pt x="1478" y="1725"/>
                  </a:cubicBezTo>
                  <a:close/>
                  <a:moveTo>
                    <a:pt x="492" y="836"/>
                  </a:moveTo>
                  <a:cubicBezTo>
                    <a:pt x="603" y="838"/>
                    <a:pt x="710" y="840"/>
                    <a:pt x="817" y="843"/>
                  </a:cubicBezTo>
                  <a:cubicBezTo>
                    <a:pt x="712" y="755"/>
                    <a:pt x="621" y="656"/>
                    <a:pt x="525" y="555"/>
                  </a:cubicBezTo>
                  <a:cubicBezTo>
                    <a:pt x="514" y="651"/>
                    <a:pt x="503" y="742"/>
                    <a:pt x="492" y="83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4" name="Freeform 9"/>
            <p:cNvSpPr>
              <a:spLocks/>
            </p:cNvSpPr>
            <p:nvPr/>
          </p:nvSpPr>
          <p:spPr bwMode="auto">
            <a:xfrm>
              <a:off x="-6338857" y="-3608569"/>
              <a:ext cx="1531024" cy="1727204"/>
            </a:xfrm>
            <a:custGeom>
              <a:avLst/>
              <a:gdLst>
                <a:gd name="T0" fmla="*/ 315 w 570"/>
                <a:gd name="T1" fmla="*/ 0 h 543"/>
                <a:gd name="T2" fmla="*/ 381 w 570"/>
                <a:gd name="T3" fmla="*/ 20 h 543"/>
                <a:gd name="T4" fmla="*/ 546 w 570"/>
                <a:gd name="T5" fmla="*/ 321 h 543"/>
                <a:gd name="T6" fmla="*/ 288 w 570"/>
                <a:gd name="T7" fmla="*/ 539 h 543"/>
                <a:gd name="T8" fmla="*/ 13 w 570"/>
                <a:gd name="T9" fmla="*/ 288 h 543"/>
                <a:gd name="T10" fmla="*/ 238 w 570"/>
                <a:gd name="T11" fmla="*/ 4 h 543"/>
                <a:gd name="T12" fmla="*/ 251 w 570"/>
                <a:gd name="T13" fmla="*/ 0 h 543"/>
                <a:gd name="T14" fmla="*/ 315 w 570"/>
                <a:gd name="T15" fmla="*/ 0 h 5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70" h="543">
                  <a:moveTo>
                    <a:pt x="315" y="0"/>
                  </a:moveTo>
                  <a:cubicBezTo>
                    <a:pt x="337" y="6"/>
                    <a:pt x="360" y="11"/>
                    <a:pt x="381" y="20"/>
                  </a:cubicBezTo>
                  <a:cubicBezTo>
                    <a:pt x="503" y="68"/>
                    <a:pt x="570" y="192"/>
                    <a:pt x="546" y="321"/>
                  </a:cubicBezTo>
                  <a:cubicBezTo>
                    <a:pt x="524" y="444"/>
                    <a:pt x="414" y="536"/>
                    <a:pt x="288" y="539"/>
                  </a:cubicBezTo>
                  <a:cubicBezTo>
                    <a:pt x="145" y="543"/>
                    <a:pt x="27" y="435"/>
                    <a:pt x="13" y="288"/>
                  </a:cubicBezTo>
                  <a:cubicBezTo>
                    <a:pt x="0" y="154"/>
                    <a:pt x="101" y="26"/>
                    <a:pt x="238" y="4"/>
                  </a:cubicBezTo>
                  <a:cubicBezTo>
                    <a:pt x="242" y="3"/>
                    <a:pt x="247" y="1"/>
                    <a:pt x="251" y="0"/>
                  </a:cubicBezTo>
                  <a:cubicBezTo>
                    <a:pt x="272" y="0"/>
                    <a:pt x="294" y="0"/>
                    <a:pt x="315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10"/>
            <p:cNvSpPr>
              <a:spLocks/>
            </p:cNvSpPr>
            <p:nvPr/>
          </p:nvSpPr>
          <p:spPr bwMode="auto">
            <a:xfrm>
              <a:off x="-2652727" y="-3064052"/>
              <a:ext cx="1496137" cy="1768470"/>
            </a:xfrm>
            <a:custGeom>
              <a:avLst/>
              <a:gdLst>
                <a:gd name="T0" fmla="*/ 278 w 557"/>
                <a:gd name="T1" fmla="*/ 0 h 556"/>
                <a:gd name="T2" fmla="*/ 556 w 557"/>
                <a:gd name="T3" fmla="*/ 279 h 556"/>
                <a:gd name="T4" fmla="*/ 278 w 557"/>
                <a:gd name="T5" fmla="*/ 556 h 556"/>
                <a:gd name="T6" fmla="*/ 0 w 557"/>
                <a:gd name="T7" fmla="*/ 278 h 556"/>
                <a:gd name="T8" fmla="*/ 278 w 557"/>
                <a:gd name="T9" fmla="*/ 0 h 5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57" h="556">
                  <a:moveTo>
                    <a:pt x="278" y="0"/>
                  </a:moveTo>
                  <a:cubicBezTo>
                    <a:pt x="432" y="0"/>
                    <a:pt x="557" y="125"/>
                    <a:pt x="556" y="279"/>
                  </a:cubicBezTo>
                  <a:cubicBezTo>
                    <a:pt x="555" y="431"/>
                    <a:pt x="431" y="556"/>
                    <a:pt x="278" y="556"/>
                  </a:cubicBezTo>
                  <a:cubicBezTo>
                    <a:pt x="125" y="556"/>
                    <a:pt x="0" y="432"/>
                    <a:pt x="0" y="278"/>
                  </a:cubicBezTo>
                  <a:cubicBezTo>
                    <a:pt x="0" y="124"/>
                    <a:pt x="124" y="0"/>
                    <a:pt x="278" y="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214414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Основные понятия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2786050" y="5857892"/>
            <a:ext cx="5715013" cy="78581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униципальный долг</a:t>
            </a:r>
            <a:r>
              <a:rPr lang="ru-RU" sz="1400" b="1" dirty="0">
                <a:solidFill>
                  <a:schemeClr val="tx1"/>
                </a:solidFill>
              </a:rPr>
              <a:t> – обязательства, возникающие из муниципальных заимствований, принятые на себя муниципальным образованием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71472" y="857232"/>
            <a:ext cx="8215341" cy="78581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Межбюджетные трансферты</a:t>
            </a:r>
            <a:r>
              <a:rPr lang="ru-RU" sz="1400" b="1" dirty="0">
                <a:solidFill>
                  <a:schemeClr val="tx1"/>
                </a:solidFill>
              </a:rPr>
              <a:t> – средства предоставляемые одним бюджетом бюджетной системы Российской Федерации другому бюджету бюджетной системы Российской Федерации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14313" y="2000250"/>
            <a:ext cx="2000250" cy="257175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Дота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 предоставляемые на безвозмездной и безвозвратной основе без установления направлений и (или) условий их использова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715008" y="1857364"/>
            <a:ext cx="3071814" cy="4000518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dirty="0">
                <a:solidFill>
                  <a:schemeClr val="tx1"/>
                </a:solidFill>
              </a:rPr>
              <a:t> </a:t>
            </a:r>
            <a:r>
              <a:rPr lang="ru-RU" sz="1400" b="1" u="sng" dirty="0">
                <a:solidFill>
                  <a:schemeClr val="tx1"/>
                </a:solidFill>
              </a:rPr>
              <a:t>Субвенц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финансового обеспечения расходных обязательств муниципального образования, возникающих при выполнении государственных полномочий Российской Федерации, субъекта Российской Федерации, переданных для осуществления органам местного самоуправления в установленном порядке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643188" y="2000250"/>
            <a:ext cx="2786068" cy="32147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400" b="1" u="sng" dirty="0">
                <a:solidFill>
                  <a:schemeClr val="tx1"/>
                </a:solidFill>
              </a:rPr>
              <a:t>Субсидии</a:t>
            </a:r>
            <a:r>
              <a:rPr lang="ru-RU" sz="1400" b="1" dirty="0">
                <a:solidFill>
                  <a:schemeClr val="tx1"/>
                </a:solidFill>
              </a:rPr>
              <a:t> – межбюджетные трансферты, предоставляемые местному бюджету в целях софинансирования расходных обязательств, возникающих при выполнении полномочий органов местного самоуправления по вопросам местного значения</a:t>
            </a:r>
            <a:endParaRPr lang="ru-RU" sz="14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08546" name="Picture 2" descr="https://zakonoved.su/wp-content/uploads/2019/02/%D0%A1%D1%83%D0%B1%D1%81%D0%B8%D0%B4%D0%B8%D0%B8-%D0%BD%D0%B0-%D0%BE%D1%82%D0%BA%D1%80%D1%8B%D1%82%D0%B8%D0%B5-%D0%B8-%D0%BF%D0%BE%D0%B4%D0%B4%D0%B5%D1%80%D0%B6%D0%BA%D1%83-%D0%BC%D0%B0%D0%BB%D0%BE%D0%B3%D0%BE-%D0%B1%D0%B8%D0%B7%D0%BD%D0%B5%D1%81%D0%B0-300x200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4953000"/>
            <a:ext cx="2857500" cy="1905000"/>
          </a:xfrm>
          <a:prstGeom prst="rect">
            <a:avLst/>
          </a:prstGeom>
          <a:noFill/>
        </p:spPr>
      </p:pic>
      <p:sp>
        <p:nvSpPr>
          <p:cNvPr id="14" name="Стрелка вниз 13"/>
          <p:cNvSpPr/>
          <p:nvPr/>
        </p:nvSpPr>
        <p:spPr>
          <a:xfrm>
            <a:off x="1071538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6" name="Стрелка вниз 15"/>
          <p:cNvSpPr/>
          <p:nvPr/>
        </p:nvSpPr>
        <p:spPr>
          <a:xfrm>
            <a:off x="3929058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7" name="Стрелка вниз 16"/>
          <p:cNvSpPr/>
          <p:nvPr/>
        </p:nvSpPr>
        <p:spPr>
          <a:xfrm>
            <a:off x="7215206" y="1500174"/>
            <a:ext cx="357190" cy="428628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357158" y="1071546"/>
            <a:ext cx="8429625" cy="7143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dirty="0" smtClean="0"/>
              <a:t>На </a:t>
            </a:r>
            <a:r>
              <a:rPr lang="ru-RU" sz="1600" dirty="0"/>
              <a:t>предоставление мер социальной поддержки, социальное обеспечение отдельных категорий граждан ( ветеранов, пенсионеров и других категорий населения ) в </a:t>
            </a:r>
            <a:r>
              <a:rPr lang="ru-RU" sz="1600" dirty="0" smtClean="0"/>
              <a:t>2021 </a:t>
            </a:r>
            <a:r>
              <a:rPr lang="ru-RU" sz="1600" dirty="0"/>
              <a:t>году и плановый период </a:t>
            </a:r>
            <a:r>
              <a:rPr lang="ru-RU" sz="1600" dirty="0" smtClean="0"/>
              <a:t>2022-2023 годах.</a:t>
            </a:r>
            <a:endParaRPr lang="ru-RU" sz="1400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428625" y="1866084"/>
          <a:ext cx="8358188" cy="4754880"/>
        </p:xfrm>
        <a:graphic>
          <a:graphicData uri="http://schemas.openxmlformats.org/drawingml/2006/table">
            <a:tbl>
              <a:tblPr/>
              <a:tblGrid>
                <a:gridCol w="2441575"/>
                <a:gridCol w="1536700"/>
                <a:gridCol w="922338"/>
                <a:gridCol w="922337"/>
                <a:gridCol w="844550"/>
                <a:gridCol w="846138"/>
                <a:gridCol w="844550"/>
              </a:tblGrid>
              <a:tr h="180214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89090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6363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и труженикам тыла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964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713,12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5510,3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 месяц 1660,68 </a:t>
                      </a:r>
                      <a:r>
                        <a:rPr lang="ru-RU" sz="1200" dirty="0" err="1">
                          <a:latin typeface="Times New Roman"/>
                          <a:ea typeface="Times New Roman"/>
                          <a:cs typeface="Times New Roman"/>
                        </a:rPr>
                        <a:t>руб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42540,5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етеранам труд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74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579,45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38579,45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8579,4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еабилитированным лицам и лицам, признанным пострадавшими от политических репресс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 человек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1660,68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66,10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1660,68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66,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В месяц 1660,68 руб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666,1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544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емьям погибших ветеранов боевых действ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 человек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 1 чел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в месяц 859,59 руб.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73,19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 месяц 859,59 руб.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73,1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В месяц 859,59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73,1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26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осударственная социальная помощь малоимущим семьям и малоимущим одиноко проживающим граждана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78 человек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608,61</a:t>
                      </a: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08,6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3050" marR="0" lvl="0" indent="-27305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08,6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1357290" y="142852"/>
            <a:ext cx="7072362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88" y="2214565"/>
          <a:ext cx="8501063" cy="4357707"/>
        </p:xfrm>
        <a:graphic>
          <a:graphicData uri="http://schemas.openxmlformats.org/drawingml/2006/table">
            <a:tbl>
              <a:tblPr/>
              <a:tblGrid>
                <a:gridCol w="2482850"/>
                <a:gridCol w="1562100"/>
                <a:gridCol w="939800"/>
                <a:gridCol w="938213"/>
                <a:gridCol w="858837"/>
                <a:gridCol w="860425"/>
                <a:gridCol w="858838"/>
              </a:tblGrid>
              <a:tr h="27622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081097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807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мпенсация расходов по оплате жилищно-коммунальных услуг отдельным категориям граждан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651 человек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0291,4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0291,4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0291,4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174765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едоставление компенсация расходов на уплату взноса на капитальный ремонт общего имущества  в многоквартирном доме отдельным категория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29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82,0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809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809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39813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годная денежная выплата лицам, награжденным знаком «Почетный донор СССР», «Почетный донор России»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13 челове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В месяц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4570,36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122,1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147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3247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285860"/>
            <a:ext cx="8429625" cy="7143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</a:t>
            </a:r>
            <a:r>
              <a:rPr lang="ru-RU" sz="1600" b="1" dirty="0" smtClean="0"/>
              <a:t>(ветеранов, пенсионеров и других категорий населения) в 2021 году и плановый период 2022-2023 годах.</a:t>
            </a:r>
            <a:endParaRPr lang="ru-RU" sz="1400" b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142852"/>
            <a:ext cx="707236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4" name="Таблица 3"/>
          <p:cNvGraphicFramePr>
            <a:graphicFrameLocks noGrp="1"/>
          </p:cNvGraphicFramePr>
          <p:nvPr/>
        </p:nvGraphicFramePr>
        <p:xfrm>
          <a:off x="500034" y="2500306"/>
          <a:ext cx="8286750" cy="2883218"/>
        </p:xfrm>
        <a:graphic>
          <a:graphicData uri="http://schemas.openxmlformats.org/drawingml/2006/table">
            <a:tbl>
              <a:tblPr/>
              <a:tblGrid>
                <a:gridCol w="3071812"/>
                <a:gridCol w="1000125"/>
                <a:gridCol w="785813"/>
                <a:gridCol w="857250"/>
                <a:gridCol w="785812"/>
                <a:gridCol w="857250"/>
                <a:gridCol w="928688"/>
              </a:tblGrid>
              <a:tr h="15240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6517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-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587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субсидии на оплату жилого помещения и  коммунальных услуг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103человек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2335,58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9809,9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2087,79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27150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убвенция на выплату ежегодной денежной компенсации многодетным семьям  на каждого из детей не старше 18-ти лет, обучающихся в общеобразовательных организациях, на приобретение комплекта школьной одежды, спортивной одежды и обуви и школьных принадлежност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8633" marR="38633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28 заявителей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-1161,97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90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90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90,18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357158" y="1428736"/>
            <a:ext cx="8429625" cy="7858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поддержки, социальное обеспечение отдельных категорий граждан </a:t>
            </a:r>
            <a:r>
              <a:rPr lang="ru-RU" sz="1600" b="1" dirty="0" smtClean="0"/>
              <a:t>(ветеранов</a:t>
            </a:r>
            <a:r>
              <a:rPr lang="ru-RU" sz="1600" b="1" dirty="0"/>
              <a:t>, пенсионеров и других категорий </a:t>
            </a:r>
            <a:r>
              <a:rPr lang="ru-RU" sz="1600" b="1" dirty="0" smtClean="0"/>
              <a:t>населения) </a:t>
            </a:r>
            <a:r>
              <a:rPr lang="ru-RU" sz="1600" b="1" dirty="0"/>
              <a:t>в </a:t>
            </a:r>
            <a:r>
              <a:rPr lang="ru-RU" sz="1600" b="1" dirty="0" smtClean="0"/>
              <a:t>2021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2-2023 годах.</a:t>
            </a:r>
            <a:endParaRPr lang="ru-RU" sz="1400" b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428728" y="214290"/>
            <a:ext cx="707236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отдельных категорий  граждан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357188" y="1874542"/>
          <a:ext cx="8429625" cy="4986312"/>
        </p:xfrm>
        <a:graphic>
          <a:graphicData uri="http://schemas.openxmlformats.org/drawingml/2006/table">
            <a:tbl>
              <a:tblPr/>
              <a:tblGrid>
                <a:gridCol w="2928937"/>
                <a:gridCol w="1143000"/>
                <a:gridCol w="785813"/>
                <a:gridCol w="1071562"/>
                <a:gridCol w="785813"/>
                <a:gridCol w="1000125"/>
                <a:gridCol w="714375"/>
              </a:tblGrid>
              <a:tr h="25558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9880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780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месячного пособия на ребенк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1375 человек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984,6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984,63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6142,7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127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выплата многодетным семьям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521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человека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В месяц 700,00 руб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073,54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5600,02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6142,7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534988">
                <a:tc>
                  <a:txBody>
                    <a:bodyPr/>
                    <a:lstStyle/>
                    <a:p>
                      <a:pPr marL="0" marR="0" lvl="0" indent="4572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жегодного социального пособия на проезд учащимся (студентам)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7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582,55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7,4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7,4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7,41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Ежемесячная денежная выплата нуждающимся в поддержке семьям, назначаемая в случае рождения в них после 31 декабря 2012 года третьего ребенка или последующих детей до достижения ребенком возраста трех лет;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14 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В месяц 9843,00 </a:t>
                      </a:r>
                      <a:r>
                        <a:rPr lang="ru-RU" sz="1200" dirty="0" err="1">
                          <a:latin typeface="Times New Roman"/>
                          <a:ea typeface="Times New Roman"/>
                          <a:cs typeface="Times New Roman"/>
                        </a:rPr>
                        <a:t>руб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0844,2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2266,0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2266,09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69975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пособия по уходу за ребенком до достижения им возраста полутора лет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964 человек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 </a:t>
                      </a:r>
                      <a:r>
                        <a:rPr lang="ru-RU" sz="1200" dirty="0" err="1">
                          <a:latin typeface="Times New Roman"/>
                          <a:ea typeface="Times New Roman"/>
                          <a:cs typeface="Times New Roman"/>
                        </a:rPr>
                        <a:t>реб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-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6752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2 </a:t>
                      </a:r>
                      <a:r>
                        <a:rPr lang="ru-RU" sz="1200" dirty="0" err="1">
                          <a:latin typeface="Times New Roman"/>
                          <a:ea typeface="Times New Roman"/>
                          <a:cs typeface="Times New Roman"/>
                        </a:rPr>
                        <a:t>реб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– 6752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8798,00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9990,75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274320" indent="-274320"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marL="274320" indent="-274320"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29955,96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071538" y="142852"/>
            <a:ext cx="635798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357158" y="1142984"/>
            <a:ext cx="8215369" cy="7858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b="1" dirty="0" smtClean="0"/>
              <a:t>На </a:t>
            </a:r>
            <a:r>
              <a:rPr lang="ru-RU" sz="1600" b="1" dirty="0"/>
              <a:t>предоставление мер социальной </a:t>
            </a:r>
            <a:r>
              <a:rPr lang="ru-RU" sz="1600" b="1" dirty="0" smtClean="0"/>
              <a:t>поддержки семьям с детьми </a:t>
            </a:r>
            <a:r>
              <a:rPr lang="ru-RU" sz="1600" b="1" dirty="0"/>
              <a:t>в </a:t>
            </a:r>
            <a:r>
              <a:rPr lang="ru-RU" sz="1600" b="1" dirty="0" smtClean="0"/>
              <a:t>2021 </a:t>
            </a:r>
            <a:r>
              <a:rPr lang="ru-RU" sz="1600" b="1" dirty="0"/>
              <a:t>году и плановый период </a:t>
            </a:r>
            <a:r>
              <a:rPr lang="ru-RU" sz="1600" b="1" dirty="0" smtClean="0"/>
              <a:t>2022-2023 годах.</a:t>
            </a:r>
            <a:endParaRPr lang="ru-RU" sz="1400" b="1" dirty="0"/>
          </a:p>
        </p:txBody>
      </p:sp>
      <p:grpSp>
        <p:nvGrpSpPr>
          <p:cNvPr id="10" name="Группа 34"/>
          <p:cNvGrpSpPr/>
          <p:nvPr/>
        </p:nvGrpSpPr>
        <p:grpSpPr>
          <a:xfrm>
            <a:off x="7929586" y="357166"/>
            <a:ext cx="1009476" cy="765247"/>
            <a:chOff x="9426304" y="3495733"/>
            <a:chExt cx="1844676" cy="1473200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13" name="Freeform 27"/>
            <p:cNvSpPr>
              <a:spLocks/>
            </p:cNvSpPr>
            <p:nvPr/>
          </p:nvSpPr>
          <p:spPr bwMode="auto">
            <a:xfrm>
              <a:off x="9426304" y="3795771"/>
              <a:ext cx="765176" cy="1173162"/>
            </a:xfrm>
            <a:custGeom>
              <a:avLst/>
              <a:gdLst>
                <a:gd name="T0" fmla="*/ 674 w 991"/>
                <a:gd name="T1" fmla="*/ 344 h 1522"/>
                <a:gd name="T2" fmla="*/ 674 w 991"/>
                <a:gd name="T3" fmla="*/ 369 h 1522"/>
                <a:gd name="T4" fmla="*/ 689 w 991"/>
                <a:gd name="T5" fmla="*/ 1244 h 1522"/>
                <a:gd name="T6" fmla="*/ 691 w 991"/>
                <a:gd name="T7" fmla="*/ 1412 h 1522"/>
                <a:gd name="T8" fmla="*/ 603 w 991"/>
                <a:gd name="T9" fmla="*/ 1502 h 1522"/>
                <a:gd name="T10" fmla="*/ 512 w 991"/>
                <a:gd name="T11" fmla="*/ 1417 h 1522"/>
                <a:gd name="T12" fmla="*/ 512 w 991"/>
                <a:gd name="T13" fmla="*/ 1215 h 1522"/>
                <a:gd name="T14" fmla="*/ 506 w 991"/>
                <a:gd name="T15" fmla="*/ 833 h 1522"/>
                <a:gd name="T16" fmla="*/ 495 w 991"/>
                <a:gd name="T17" fmla="*/ 749 h 1522"/>
                <a:gd name="T18" fmla="*/ 485 w 991"/>
                <a:gd name="T19" fmla="*/ 749 h 1522"/>
                <a:gd name="T20" fmla="*/ 476 w 991"/>
                <a:gd name="T21" fmla="*/ 793 h 1522"/>
                <a:gd name="T22" fmla="*/ 465 w 991"/>
                <a:gd name="T23" fmla="*/ 1107 h 1522"/>
                <a:gd name="T24" fmla="*/ 466 w 991"/>
                <a:gd name="T25" fmla="*/ 1409 h 1522"/>
                <a:gd name="T26" fmla="*/ 336 w 991"/>
                <a:gd name="T27" fmla="*/ 1493 h 1522"/>
                <a:gd name="T28" fmla="*/ 287 w 991"/>
                <a:gd name="T29" fmla="*/ 1412 h 1522"/>
                <a:gd name="T30" fmla="*/ 290 w 991"/>
                <a:gd name="T31" fmla="*/ 1102 h 1522"/>
                <a:gd name="T32" fmla="*/ 304 w 991"/>
                <a:gd name="T33" fmla="*/ 359 h 1522"/>
                <a:gd name="T34" fmla="*/ 300 w 991"/>
                <a:gd name="T35" fmla="*/ 341 h 1522"/>
                <a:gd name="T36" fmla="*/ 249 w 991"/>
                <a:gd name="T37" fmla="*/ 420 h 1522"/>
                <a:gd name="T38" fmla="*/ 130 w 991"/>
                <a:gd name="T39" fmla="*/ 605 h 1522"/>
                <a:gd name="T40" fmla="*/ 64 w 991"/>
                <a:gd name="T41" fmla="*/ 642 h 1522"/>
                <a:gd name="T42" fmla="*/ 3 w 991"/>
                <a:gd name="T43" fmla="*/ 592 h 1522"/>
                <a:gd name="T44" fmla="*/ 9 w 991"/>
                <a:gd name="T45" fmla="*/ 543 h 1522"/>
                <a:gd name="T46" fmla="*/ 235 w 991"/>
                <a:gd name="T47" fmla="*/ 131 h 1522"/>
                <a:gd name="T48" fmla="*/ 273 w 991"/>
                <a:gd name="T49" fmla="*/ 77 h 1522"/>
                <a:gd name="T50" fmla="*/ 432 w 991"/>
                <a:gd name="T51" fmla="*/ 10 h 1522"/>
                <a:gd name="T52" fmla="*/ 537 w 991"/>
                <a:gd name="T53" fmla="*/ 11 h 1522"/>
                <a:gd name="T54" fmla="*/ 715 w 991"/>
                <a:gd name="T55" fmla="*/ 91 h 1522"/>
                <a:gd name="T56" fmla="*/ 827 w 991"/>
                <a:gd name="T57" fmla="*/ 283 h 1522"/>
                <a:gd name="T58" fmla="*/ 966 w 991"/>
                <a:gd name="T59" fmla="*/ 539 h 1522"/>
                <a:gd name="T60" fmla="*/ 922 w 991"/>
                <a:gd name="T61" fmla="*/ 640 h 1522"/>
                <a:gd name="T62" fmla="*/ 851 w 991"/>
                <a:gd name="T63" fmla="*/ 610 h 1522"/>
                <a:gd name="T64" fmla="*/ 695 w 991"/>
                <a:gd name="T65" fmla="*/ 367 h 1522"/>
                <a:gd name="T66" fmla="*/ 679 w 991"/>
                <a:gd name="T67" fmla="*/ 343 h 1522"/>
                <a:gd name="T68" fmla="*/ 674 w 991"/>
                <a:gd name="T69" fmla="*/ 344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91" h="1522">
                  <a:moveTo>
                    <a:pt x="674" y="344"/>
                  </a:moveTo>
                  <a:cubicBezTo>
                    <a:pt x="674" y="352"/>
                    <a:pt x="674" y="360"/>
                    <a:pt x="674" y="369"/>
                  </a:cubicBezTo>
                  <a:cubicBezTo>
                    <a:pt x="679" y="661"/>
                    <a:pt x="684" y="952"/>
                    <a:pt x="689" y="1244"/>
                  </a:cubicBezTo>
                  <a:cubicBezTo>
                    <a:pt x="690" y="1300"/>
                    <a:pt x="691" y="1356"/>
                    <a:pt x="691" y="1412"/>
                  </a:cubicBezTo>
                  <a:cubicBezTo>
                    <a:pt x="691" y="1464"/>
                    <a:pt x="655" y="1501"/>
                    <a:pt x="603" y="1502"/>
                  </a:cubicBezTo>
                  <a:cubicBezTo>
                    <a:pt x="553" y="1504"/>
                    <a:pt x="513" y="1468"/>
                    <a:pt x="512" y="1417"/>
                  </a:cubicBezTo>
                  <a:cubicBezTo>
                    <a:pt x="510" y="1349"/>
                    <a:pt x="513" y="1282"/>
                    <a:pt x="512" y="1215"/>
                  </a:cubicBezTo>
                  <a:cubicBezTo>
                    <a:pt x="511" y="1088"/>
                    <a:pt x="509" y="960"/>
                    <a:pt x="506" y="833"/>
                  </a:cubicBezTo>
                  <a:cubicBezTo>
                    <a:pt x="505" y="805"/>
                    <a:pt x="499" y="777"/>
                    <a:pt x="495" y="749"/>
                  </a:cubicBezTo>
                  <a:cubicBezTo>
                    <a:pt x="492" y="749"/>
                    <a:pt x="488" y="749"/>
                    <a:pt x="485" y="749"/>
                  </a:cubicBezTo>
                  <a:cubicBezTo>
                    <a:pt x="482" y="764"/>
                    <a:pt x="476" y="778"/>
                    <a:pt x="476" y="793"/>
                  </a:cubicBezTo>
                  <a:cubicBezTo>
                    <a:pt x="471" y="898"/>
                    <a:pt x="467" y="1002"/>
                    <a:pt x="465" y="1107"/>
                  </a:cubicBezTo>
                  <a:cubicBezTo>
                    <a:pt x="464" y="1207"/>
                    <a:pt x="467" y="1308"/>
                    <a:pt x="466" y="1409"/>
                  </a:cubicBezTo>
                  <a:cubicBezTo>
                    <a:pt x="466" y="1481"/>
                    <a:pt x="402" y="1522"/>
                    <a:pt x="336" y="1493"/>
                  </a:cubicBezTo>
                  <a:cubicBezTo>
                    <a:pt x="301" y="1477"/>
                    <a:pt x="287" y="1449"/>
                    <a:pt x="287" y="1412"/>
                  </a:cubicBezTo>
                  <a:cubicBezTo>
                    <a:pt x="288" y="1309"/>
                    <a:pt x="289" y="1206"/>
                    <a:pt x="290" y="1102"/>
                  </a:cubicBezTo>
                  <a:cubicBezTo>
                    <a:pt x="295" y="854"/>
                    <a:pt x="300" y="607"/>
                    <a:pt x="304" y="359"/>
                  </a:cubicBezTo>
                  <a:cubicBezTo>
                    <a:pt x="304" y="353"/>
                    <a:pt x="304" y="347"/>
                    <a:pt x="300" y="341"/>
                  </a:cubicBezTo>
                  <a:cubicBezTo>
                    <a:pt x="283" y="367"/>
                    <a:pt x="266" y="394"/>
                    <a:pt x="249" y="420"/>
                  </a:cubicBezTo>
                  <a:cubicBezTo>
                    <a:pt x="209" y="482"/>
                    <a:pt x="169" y="544"/>
                    <a:pt x="130" y="605"/>
                  </a:cubicBezTo>
                  <a:cubicBezTo>
                    <a:pt x="115" y="630"/>
                    <a:pt x="93" y="645"/>
                    <a:pt x="64" y="642"/>
                  </a:cubicBezTo>
                  <a:cubicBezTo>
                    <a:pt x="34" y="638"/>
                    <a:pt x="9" y="623"/>
                    <a:pt x="3" y="592"/>
                  </a:cubicBezTo>
                  <a:cubicBezTo>
                    <a:pt x="0" y="577"/>
                    <a:pt x="2" y="557"/>
                    <a:pt x="9" y="543"/>
                  </a:cubicBezTo>
                  <a:cubicBezTo>
                    <a:pt x="84" y="405"/>
                    <a:pt x="159" y="268"/>
                    <a:pt x="235" y="131"/>
                  </a:cubicBezTo>
                  <a:cubicBezTo>
                    <a:pt x="246" y="112"/>
                    <a:pt x="259" y="95"/>
                    <a:pt x="273" y="77"/>
                  </a:cubicBezTo>
                  <a:cubicBezTo>
                    <a:pt x="313" y="25"/>
                    <a:pt x="365" y="2"/>
                    <a:pt x="432" y="10"/>
                  </a:cubicBezTo>
                  <a:cubicBezTo>
                    <a:pt x="467" y="14"/>
                    <a:pt x="503" y="16"/>
                    <a:pt x="537" y="11"/>
                  </a:cubicBezTo>
                  <a:cubicBezTo>
                    <a:pt x="615" y="0"/>
                    <a:pt x="674" y="27"/>
                    <a:pt x="715" y="91"/>
                  </a:cubicBezTo>
                  <a:cubicBezTo>
                    <a:pt x="755" y="153"/>
                    <a:pt x="791" y="218"/>
                    <a:pt x="827" y="283"/>
                  </a:cubicBezTo>
                  <a:cubicBezTo>
                    <a:pt x="874" y="367"/>
                    <a:pt x="920" y="453"/>
                    <a:pt x="966" y="539"/>
                  </a:cubicBezTo>
                  <a:cubicBezTo>
                    <a:pt x="991" y="584"/>
                    <a:pt x="972" y="628"/>
                    <a:pt x="922" y="640"/>
                  </a:cubicBezTo>
                  <a:cubicBezTo>
                    <a:pt x="895" y="647"/>
                    <a:pt x="868" y="637"/>
                    <a:pt x="851" y="610"/>
                  </a:cubicBezTo>
                  <a:cubicBezTo>
                    <a:pt x="799" y="529"/>
                    <a:pt x="747" y="448"/>
                    <a:pt x="695" y="367"/>
                  </a:cubicBezTo>
                  <a:cubicBezTo>
                    <a:pt x="689" y="359"/>
                    <a:pt x="684" y="351"/>
                    <a:pt x="679" y="343"/>
                  </a:cubicBezTo>
                  <a:cubicBezTo>
                    <a:pt x="677" y="343"/>
                    <a:pt x="676" y="343"/>
                    <a:pt x="674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28"/>
            <p:cNvSpPr>
              <a:spLocks/>
            </p:cNvSpPr>
            <p:nvPr/>
          </p:nvSpPr>
          <p:spPr bwMode="auto">
            <a:xfrm>
              <a:off x="10547080" y="3856092"/>
              <a:ext cx="723900" cy="1100136"/>
            </a:xfrm>
            <a:custGeom>
              <a:avLst/>
              <a:gdLst>
                <a:gd name="T0" fmla="*/ 303 w 937"/>
                <a:gd name="T1" fmla="*/ 263 h 1426"/>
                <a:gd name="T2" fmla="*/ 243 w 937"/>
                <a:gd name="T3" fmla="*/ 366 h 1426"/>
                <a:gd name="T4" fmla="*/ 121 w 937"/>
                <a:gd name="T5" fmla="*/ 575 h 1426"/>
                <a:gd name="T6" fmla="*/ 57 w 937"/>
                <a:gd name="T7" fmla="*/ 606 h 1426"/>
                <a:gd name="T8" fmla="*/ 1 w 937"/>
                <a:gd name="T9" fmla="*/ 552 h 1426"/>
                <a:gd name="T10" fmla="*/ 9 w 937"/>
                <a:gd name="T11" fmla="*/ 512 h 1426"/>
                <a:gd name="T12" fmla="*/ 257 w 937"/>
                <a:gd name="T13" fmla="*/ 94 h 1426"/>
                <a:gd name="T14" fmla="*/ 341 w 937"/>
                <a:gd name="T15" fmla="*/ 15 h 1426"/>
                <a:gd name="T16" fmla="*/ 401 w 937"/>
                <a:gd name="T17" fmla="*/ 6 h 1426"/>
                <a:gd name="T18" fmla="*/ 515 w 937"/>
                <a:gd name="T19" fmla="*/ 5 h 1426"/>
                <a:gd name="T20" fmla="*/ 640 w 937"/>
                <a:gd name="T21" fmla="*/ 56 h 1426"/>
                <a:gd name="T22" fmla="*/ 728 w 937"/>
                <a:gd name="T23" fmla="*/ 191 h 1426"/>
                <a:gd name="T24" fmla="*/ 915 w 937"/>
                <a:gd name="T25" fmla="*/ 505 h 1426"/>
                <a:gd name="T26" fmla="*/ 895 w 937"/>
                <a:gd name="T27" fmla="*/ 597 h 1426"/>
                <a:gd name="T28" fmla="*/ 805 w 937"/>
                <a:gd name="T29" fmla="*/ 572 h 1426"/>
                <a:gd name="T30" fmla="*/ 631 w 937"/>
                <a:gd name="T31" fmla="*/ 276 h 1426"/>
                <a:gd name="T32" fmla="*/ 620 w 937"/>
                <a:gd name="T33" fmla="*/ 260 h 1426"/>
                <a:gd name="T34" fmla="*/ 615 w 937"/>
                <a:gd name="T35" fmla="*/ 432 h 1426"/>
                <a:gd name="T36" fmla="*/ 728 w 937"/>
                <a:gd name="T37" fmla="*/ 756 h 1426"/>
                <a:gd name="T38" fmla="*/ 698 w 937"/>
                <a:gd name="T39" fmla="*/ 814 h 1426"/>
                <a:gd name="T40" fmla="*/ 622 w 937"/>
                <a:gd name="T41" fmla="*/ 814 h 1426"/>
                <a:gd name="T42" fmla="*/ 622 w 937"/>
                <a:gd name="T43" fmla="*/ 838 h 1426"/>
                <a:gd name="T44" fmla="*/ 629 w 937"/>
                <a:gd name="T45" fmla="*/ 1336 h 1426"/>
                <a:gd name="T46" fmla="*/ 621 w 937"/>
                <a:gd name="T47" fmla="*/ 1381 h 1426"/>
                <a:gd name="T48" fmla="*/ 564 w 937"/>
                <a:gd name="T49" fmla="*/ 1423 h 1426"/>
                <a:gd name="T50" fmla="*/ 506 w 937"/>
                <a:gd name="T51" fmla="*/ 1382 h 1426"/>
                <a:gd name="T52" fmla="*/ 496 w 937"/>
                <a:gd name="T53" fmla="*/ 1321 h 1426"/>
                <a:gd name="T54" fmla="*/ 494 w 937"/>
                <a:gd name="T55" fmla="*/ 841 h 1426"/>
                <a:gd name="T56" fmla="*/ 494 w 937"/>
                <a:gd name="T57" fmla="*/ 816 h 1426"/>
                <a:gd name="T58" fmla="*/ 442 w 937"/>
                <a:gd name="T59" fmla="*/ 817 h 1426"/>
                <a:gd name="T60" fmla="*/ 433 w 937"/>
                <a:gd name="T61" fmla="*/ 834 h 1426"/>
                <a:gd name="T62" fmla="*/ 430 w 937"/>
                <a:gd name="T63" fmla="*/ 1046 h 1426"/>
                <a:gd name="T64" fmla="*/ 431 w 937"/>
                <a:gd name="T65" fmla="*/ 1331 h 1426"/>
                <a:gd name="T66" fmla="*/ 414 w 937"/>
                <a:gd name="T67" fmla="*/ 1394 h 1426"/>
                <a:gd name="T68" fmla="*/ 357 w 937"/>
                <a:gd name="T69" fmla="*/ 1422 h 1426"/>
                <a:gd name="T70" fmla="*/ 306 w 937"/>
                <a:gd name="T71" fmla="*/ 1380 h 1426"/>
                <a:gd name="T72" fmla="*/ 298 w 937"/>
                <a:gd name="T73" fmla="*/ 1314 h 1426"/>
                <a:gd name="T74" fmla="*/ 306 w 937"/>
                <a:gd name="T75" fmla="*/ 842 h 1426"/>
                <a:gd name="T76" fmla="*/ 306 w 937"/>
                <a:gd name="T77" fmla="*/ 817 h 1426"/>
                <a:gd name="T78" fmla="*/ 224 w 937"/>
                <a:gd name="T79" fmla="*/ 813 h 1426"/>
                <a:gd name="T80" fmla="*/ 197 w 937"/>
                <a:gd name="T81" fmla="*/ 759 h 1426"/>
                <a:gd name="T82" fmla="*/ 280 w 937"/>
                <a:gd name="T83" fmla="*/ 578 h 1426"/>
                <a:gd name="T84" fmla="*/ 310 w 937"/>
                <a:gd name="T85" fmla="*/ 274 h 1426"/>
                <a:gd name="T86" fmla="*/ 308 w 937"/>
                <a:gd name="T87" fmla="*/ 265 h 1426"/>
                <a:gd name="T88" fmla="*/ 303 w 937"/>
                <a:gd name="T89" fmla="*/ 263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37" h="1426">
                  <a:moveTo>
                    <a:pt x="303" y="263"/>
                  </a:moveTo>
                  <a:cubicBezTo>
                    <a:pt x="283" y="298"/>
                    <a:pt x="263" y="332"/>
                    <a:pt x="243" y="366"/>
                  </a:cubicBezTo>
                  <a:cubicBezTo>
                    <a:pt x="202" y="436"/>
                    <a:pt x="162" y="505"/>
                    <a:pt x="121" y="575"/>
                  </a:cubicBezTo>
                  <a:cubicBezTo>
                    <a:pt x="106" y="600"/>
                    <a:pt x="82" y="611"/>
                    <a:pt x="57" y="606"/>
                  </a:cubicBezTo>
                  <a:cubicBezTo>
                    <a:pt x="27" y="600"/>
                    <a:pt x="4" y="580"/>
                    <a:pt x="1" y="552"/>
                  </a:cubicBezTo>
                  <a:cubicBezTo>
                    <a:pt x="0" y="539"/>
                    <a:pt x="2" y="523"/>
                    <a:pt x="9" y="512"/>
                  </a:cubicBezTo>
                  <a:cubicBezTo>
                    <a:pt x="91" y="372"/>
                    <a:pt x="173" y="233"/>
                    <a:pt x="257" y="94"/>
                  </a:cubicBezTo>
                  <a:cubicBezTo>
                    <a:pt x="277" y="61"/>
                    <a:pt x="302" y="29"/>
                    <a:pt x="341" y="15"/>
                  </a:cubicBezTo>
                  <a:cubicBezTo>
                    <a:pt x="360" y="8"/>
                    <a:pt x="381" y="6"/>
                    <a:pt x="401" y="6"/>
                  </a:cubicBezTo>
                  <a:cubicBezTo>
                    <a:pt x="439" y="5"/>
                    <a:pt x="477" y="10"/>
                    <a:pt x="515" y="5"/>
                  </a:cubicBezTo>
                  <a:cubicBezTo>
                    <a:pt x="567" y="0"/>
                    <a:pt x="610" y="16"/>
                    <a:pt x="640" y="56"/>
                  </a:cubicBezTo>
                  <a:cubicBezTo>
                    <a:pt x="672" y="99"/>
                    <a:pt x="700" y="145"/>
                    <a:pt x="728" y="191"/>
                  </a:cubicBezTo>
                  <a:cubicBezTo>
                    <a:pt x="791" y="295"/>
                    <a:pt x="853" y="400"/>
                    <a:pt x="915" y="505"/>
                  </a:cubicBezTo>
                  <a:cubicBezTo>
                    <a:pt x="937" y="541"/>
                    <a:pt x="928" y="577"/>
                    <a:pt x="895" y="597"/>
                  </a:cubicBezTo>
                  <a:cubicBezTo>
                    <a:pt x="860" y="617"/>
                    <a:pt x="827" y="608"/>
                    <a:pt x="805" y="572"/>
                  </a:cubicBezTo>
                  <a:cubicBezTo>
                    <a:pt x="747" y="473"/>
                    <a:pt x="689" y="374"/>
                    <a:pt x="631" y="276"/>
                  </a:cubicBezTo>
                  <a:cubicBezTo>
                    <a:pt x="629" y="271"/>
                    <a:pt x="626" y="268"/>
                    <a:pt x="620" y="260"/>
                  </a:cubicBezTo>
                  <a:cubicBezTo>
                    <a:pt x="609" y="320"/>
                    <a:pt x="609" y="376"/>
                    <a:pt x="615" y="432"/>
                  </a:cubicBezTo>
                  <a:cubicBezTo>
                    <a:pt x="628" y="549"/>
                    <a:pt x="669" y="656"/>
                    <a:pt x="728" y="756"/>
                  </a:cubicBezTo>
                  <a:cubicBezTo>
                    <a:pt x="754" y="799"/>
                    <a:pt x="749" y="809"/>
                    <a:pt x="698" y="814"/>
                  </a:cubicBezTo>
                  <a:cubicBezTo>
                    <a:pt x="674" y="816"/>
                    <a:pt x="649" y="814"/>
                    <a:pt x="622" y="814"/>
                  </a:cubicBezTo>
                  <a:cubicBezTo>
                    <a:pt x="622" y="824"/>
                    <a:pt x="622" y="831"/>
                    <a:pt x="622" y="838"/>
                  </a:cubicBezTo>
                  <a:cubicBezTo>
                    <a:pt x="624" y="1004"/>
                    <a:pt x="627" y="1170"/>
                    <a:pt x="629" y="1336"/>
                  </a:cubicBezTo>
                  <a:cubicBezTo>
                    <a:pt x="629" y="1351"/>
                    <a:pt x="626" y="1367"/>
                    <a:pt x="621" y="1381"/>
                  </a:cubicBezTo>
                  <a:cubicBezTo>
                    <a:pt x="613" y="1406"/>
                    <a:pt x="588" y="1423"/>
                    <a:pt x="564" y="1423"/>
                  </a:cubicBezTo>
                  <a:cubicBezTo>
                    <a:pt x="540" y="1423"/>
                    <a:pt x="513" y="1406"/>
                    <a:pt x="506" y="1382"/>
                  </a:cubicBezTo>
                  <a:cubicBezTo>
                    <a:pt x="499" y="1362"/>
                    <a:pt x="496" y="1341"/>
                    <a:pt x="496" y="1321"/>
                  </a:cubicBezTo>
                  <a:cubicBezTo>
                    <a:pt x="495" y="1161"/>
                    <a:pt x="495" y="1001"/>
                    <a:pt x="494" y="841"/>
                  </a:cubicBezTo>
                  <a:cubicBezTo>
                    <a:pt x="494" y="834"/>
                    <a:pt x="494" y="827"/>
                    <a:pt x="494" y="816"/>
                  </a:cubicBezTo>
                  <a:cubicBezTo>
                    <a:pt x="476" y="816"/>
                    <a:pt x="458" y="815"/>
                    <a:pt x="442" y="817"/>
                  </a:cubicBezTo>
                  <a:cubicBezTo>
                    <a:pt x="438" y="817"/>
                    <a:pt x="434" y="828"/>
                    <a:pt x="433" y="834"/>
                  </a:cubicBezTo>
                  <a:cubicBezTo>
                    <a:pt x="432" y="904"/>
                    <a:pt x="430" y="975"/>
                    <a:pt x="430" y="1046"/>
                  </a:cubicBezTo>
                  <a:cubicBezTo>
                    <a:pt x="430" y="1141"/>
                    <a:pt x="432" y="1236"/>
                    <a:pt x="431" y="1331"/>
                  </a:cubicBezTo>
                  <a:cubicBezTo>
                    <a:pt x="430" y="1352"/>
                    <a:pt x="424" y="1375"/>
                    <a:pt x="414" y="1394"/>
                  </a:cubicBezTo>
                  <a:cubicBezTo>
                    <a:pt x="404" y="1415"/>
                    <a:pt x="382" y="1426"/>
                    <a:pt x="357" y="1422"/>
                  </a:cubicBezTo>
                  <a:cubicBezTo>
                    <a:pt x="332" y="1419"/>
                    <a:pt x="313" y="1405"/>
                    <a:pt x="306" y="1380"/>
                  </a:cubicBezTo>
                  <a:cubicBezTo>
                    <a:pt x="300" y="1359"/>
                    <a:pt x="298" y="1336"/>
                    <a:pt x="298" y="1314"/>
                  </a:cubicBezTo>
                  <a:cubicBezTo>
                    <a:pt x="300" y="1156"/>
                    <a:pt x="303" y="999"/>
                    <a:pt x="306" y="842"/>
                  </a:cubicBezTo>
                  <a:cubicBezTo>
                    <a:pt x="306" y="834"/>
                    <a:pt x="306" y="826"/>
                    <a:pt x="306" y="817"/>
                  </a:cubicBezTo>
                  <a:cubicBezTo>
                    <a:pt x="277" y="816"/>
                    <a:pt x="251" y="816"/>
                    <a:pt x="224" y="813"/>
                  </a:cubicBezTo>
                  <a:cubicBezTo>
                    <a:pt x="179" y="808"/>
                    <a:pt x="174" y="799"/>
                    <a:pt x="197" y="759"/>
                  </a:cubicBezTo>
                  <a:cubicBezTo>
                    <a:pt x="231" y="701"/>
                    <a:pt x="260" y="642"/>
                    <a:pt x="280" y="578"/>
                  </a:cubicBezTo>
                  <a:cubicBezTo>
                    <a:pt x="311" y="479"/>
                    <a:pt x="326" y="378"/>
                    <a:pt x="310" y="274"/>
                  </a:cubicBezTo>
                  <a:cubicBezTo>
                    <a:pt x="310" y="271"/>
                    <a:pt x="309" y="268"/>
                    <a:pt x="308" y="265"/>
                  </a:cubicBezTo>
                  <a:cubicBezTo>
                    <a:pt x="307" y="265"/>
                    <a:pt x="305" y="264"/>
                    <a:pt x="30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5" name="Freeform 29"/>
            <p:cNvSpPr>
              <a:spLocks/>
            </p:cNvSpPr>
            <p:nvPr/>
          </p:nvSpPr>
          <p:spPr bwMode="auto">
            <a:xfrm>
              <a:off x="10080354" y="4214868"/>
              <a:ext cx="547688" cy="749298"/>
            </a:xfrm>
            <a:custGeom>
              <a:avLst/>
              <a:gdLst>
                <a:gd name="T0" fmla="*/ 216 w 711"/>
                <a:gd name="T1" fmla="*/ 204 h 971"/>
                <a:gd name="T2" fmla="*/ 102 w 711"/>
                <a:gd name="T3" fmla="*/ 381 h 971"/>
                <a:gd name="T4" fmla="*/ 24 w 711"/>
                <a:gd name="T5" fmla="*/ 395 h 971"/>
                <a:gd name="T6" fmla="*/ 12 w 711"/>
                <a:gd name="T7" fmla="*/ 343 h 971"/>
                <a:gd name="T8" fmla="*/ 170 w 711"/>
                <a:gd name="T9" fmla="*/ 79 h 971"/>
                <a:gd name="T10" fmla="*/ 248 w 711"/>
                <a:gd name="T11" fmla="*/ 10 h 971"/>
                <a:gd name="T12" fmla="*/ 295 w 711"/>
                <a:gd name="T13" fmla="*/ 4 h 971"/>
                <a:gd name="T14" fmla="*/ 409 w 711"/>
                <a:gd name="T15" fmla="*/ 4 h 971"/>
                <a:gd name="T16" fmla="*/ 506 w 711"/>
                <a:gd name="T17" fmla="*/ 39 h 971"/>
                <a:gd name="T18" fmla="*/ 571 w 711"/>
                <a:gd name="T19" fmla="*/ 128 h 971"/>
                <a:gd name="T20" fmla="*/ 695 w 711"/>
                <a:gd name="T21" fmla="*/ 335 h 971"/>
                <a:gd name="T22" fmla="*/ 682 w 711"/>
                <a:gd name="T23" fmla="*/ 398 h 971"/>
                <a:gd name="T24" fmla="*/ 611 w 711"/>
                <a:gd name="T25" fmla="*/ 384 h 971"/>
                <a:gd name="T26" fmla="*/ 514 w 711"/>
                <a:gd name="T27" fmla="*/ 234 h 971"/>
                <a:gd name="T28" fmla="*/ 492 w 711"/>
                <a:gd name="T29" fmla="*/ 204 h 971"/>
                <a:gd name="T30" fmla="*/ 500 w 711"/>
                <a:gd name="T31" fmla="*/ 298 h 971"/>
                <a:gd name="T32" fmla="*/ 551 w 711"/>
                <a:gd name="T33" fmla="*/ 449 h 971"/>
                <a:gd name="T34" fmla="*/ 559 w 711"/>
                <a:gd name="T35" fmla="*/ 488 h 971"/>
                <a:gd name="T36" fmla="*/ 514 w 711"/>
                <a:gd name="T37" fmla="*/ 546 h 971"/>
                <a:gd name="T38" fmla="*/ 494 w 711"/>
                <a:gd name="T39" fmla="*/ 572 h 971"/>
                <a:gd name="T40" fmla="*/ 499 w 711"/>
                <a:gd name="T41" fmla="*/ 898 h 971"/>
                <a:gd name="T42" fmla="*/ 470 w 711"/>
                <a:gd name="T43" fmla="*/ 950 h 971"/>
                <a:gd name="T44" fmla="*/ 409 w 711"/>
                <a:gd name="T45" fmla="*/ 946 h 971"/>
                <a:gd name="T46" fmla="*/ 386 w 711"/>
                <a:gd name="T47" fmla="*/ 893 h 971"/>
                <a:gd name="T48" fmla="*/ 387 w 711"/>
                <a:gd name="T49" fmla="*/ 617 h 971"/>
                <a:gd name="T50" fmla="*/ 385 w 711"/>
                <a:gd name="T51" fmla="*/ 565 h 971"/>
                <a:gd name="T52" fmla="*/ 369 w 711"/>
                <a:gd name="T53" fmla="*/ 549 h 971"/>
                <a:gd name="T54" fmla="*/ 326 w 711"/>
                <a:gd name="T55" fmla="*/ 589 h 971"/>
                <a:gd name="T56" fmla="*/ 325 w 711"/>
                <a:gd name="T57" fmla="*/ 891 h 971"/>
                <a:gd name="T58" fmla="*/ 296 w 711"/>
                <a:gd name="T59" fmla="*/ 950 h 971"/>
                <a:gd name="T60" fmla="*/ 213 w 711"/>
                <a:gd name="T61" fmla="*/ 900 h 971"/>
                <a:gd name="T62" fmla="*/ 217 w 711"/>
                <a:gd name="T63" fmla="*/ 573 h 971"/>
                <a:gd name="T64" fmla="*/ 196 w 711"/>
                <a:gd name="T65" fmla="*/ 546 h 971"/>
                <a:gd name="T66" fmla="*/ 152 w 711"/>
                <a:gd name="T67" fmla="*/ 487 h 971"/>
                <a:gd name="T68" fmla="*/ 176 w 711"/>
                <a:gd name="T69" fmla="*/ 401 h 971"/>
                <a:gd name="T70" fmla="*/ 221 w 711"/>
                <a:gd name="T71" fmla="*/ 248 h 971"/>
                <a:gd name="T72" fmla="*/ 222 w 711"/>
                <a:gd name="T73" fmla="*/ 204 h 971"/>
                <a:gd name="T74" fmla="*/ 216 w 711"/>
                <a:gd name="T75" fmla="*/ 204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1" h="971">
                  <a:moveTo>
                    <a:pt x="216" y="204"/>
                  </a:moveTo>
                  <a:cubicBezTo>
                    <a:pt x="178" y="263"/>
                    <a:pt x="140" y="322"/>
                    <a:pt x="102" y="381"/>
                  </a:cubicBezTo>
                  <a:cubicBezTo>
                    <a:pt x="83" y="410"/>
                    <a:pt x="51" y="415"/>
                    <a:pt x="24" y="395"/>
                  </a:cubicBezTo>
                  <a:cubicBezTo>
                    <a:pt x="6" y="382"/>
                    <a:pt x="0" y="363"/>
                    <a:pt x="12" y="343"/>
                  </a:cubicBezTo>
                  <a:cubicBezTo>
                    <a:pt x="64" y="255"/>
                    <a:pt x="117" y="166"/>
                    <a:pt x="170" y="79"/>
                  </a:cubicBezTo>
                  <a:cubicBezTo>
                    <a:pt x="189" y="49"/>
                    <a:pt x="214" y="23"/>
                    <a:pt x="248" y="10"/>
                  </a:cubicBezTo>
                  <a:cubicBezTo>
                    <a:pt x="263" y="4"/>
                    <a:pt x="280" y="4"/>
                    <a:pt x="295" y="4"/>
                  </a:cubicBezTo>
                  <a:cubicBezTo>
                    <a:pt x="333" y="3"/>
                    <a:pt x="371" y="7"/>
                    <a:pt x="409" y="4"/>
                  </a:cubicBezTo>
                  <a:cubicBezTo>
                    <a:pt x="448" y="0"/>
                    <a:pt x="481" y="11"/>
                    <a:pt x="506" y="39"/>
                  </a:cubicBezTo>
                  <a:cubicBezTo>
                    <a:pt x="530" y="67"/>
                    <a:pt x="552" y="97"/>
                    <a:pt x="571" y="128"/>
                  </a:cubicBezTo>
                  <a:cubicBezTo>
                    <a:pt x="613" y="196"/>
                    <a:pt x="654" y="266"/>
                    <a:pt x="695" y="335"/>
                  </a:cubicBezTo>
                  <a:cubicBezTo>
                    <a:pt x="711" y="364"/>
                    <a:pt x="707" y="383"/>
                    <a:pt x="682" y="398"/>
                  </a:cubicBezTo>
                  <a:cubicBezTo>
                    <a:pt x="657" y="414"/>
                    <a:pt x="627" y="409"/>
                    <a:pt x="611" y="384"/>
                  </a:cubicBezTo>
                  <a:cubicBezTo>
                    <a:pt x="578" y="334"/>
                    <a:pt x="547" y="284"/>
                    <a:pt x="514" y="234"/>
                  </a:cubicBezTo>
                  <a:cubicBezTo>
                    <a:pt x="508" y="224"/>
                    <a:pt x="501" y="214"/>
                    <a:pt x="492" y="204"/>
                  </a:cubicBezTo>
                  <a:cubicBezTo>
                    <a:pt x="485" y="237"/>
                    <a:pt x="491" y="268"/>
                    <a:pt x="500" y="298"/>
                  </a:cubicBezTo>
                  <a:cubicBezTo>
                    <a:pt x="516" y="349"/>
                    <a:pt x="535" y="399"/>
                    <a:pt x="551" y="449"/>
                  </a:cubicBezTo>
                  <a:cubicBezTo>
                    <a:pt x="555" y="462"/>
                    <a:pt x="558" y="475"/>
                    <a:pt x="559" y="488"/>
                  </a:cubicBezTo>
                  <a:cubicBezTo>
                    <a:pt x="562" y="524"/>
                    <a:pt x="550" y="541"/>
                    <a:pt x="514" y="546"/>
                  </a:cubicBezTo>
                  <a:cubicBezTo>
                    <a:pt x="497" y="549"/>
                    <a:pt x="493" y="555"/>
                    <a:pt x="494" y="572"/>
                  </a:cubicBezTo>
                  <a:cubicBezTo>
                    <a:pt x="496" y="681"/>
                    <a:pt x="498" y="789"/>
                    <a:pt x="499" y="898"/>
                  </a:cubicBezTo>
                  <a:cubicBezTo>
                    <a:pt x="499" y="921"/>
                    <a:pt x="492" y="939"/>
                    <a:pt x="470" y="950"/>
                  </a:cubicBezTo>
                  <a:cubicBezTo>
                    <a:pt x="448" y="961"/>
                    <a:pt x="428" y="959"/>
                    <a:pt x="409" y="946"/>
                  </a:cubicBezTo>
                  <a:cubicBezTo>
                    <a:pt x="390" y="933"/>
                    <a:pt x="386" y="914"/>
                    <a:pt x="386" y="893"/>
                  </a:cubicBezTo>
                  <a:cubicBezTo>
                    <a:pt x="387" y="801"/>
                    <a:pt x="387" y="709"/>
                    <a:pt x="387" y="617"/>
                  </a:cubicBezTo>
                  <a:cubicBezTo>
                    <a:pt x="387" y="600"/>
                    <a:pt x="385" y="583"/>
                    <a:pt x="385" y="565"/>
                  </a:cubicBezTo>
                  <a:cubicBezTo>
                    <a:pt x="385" y="554"/>
                    <a:pt x="382" y="548"/>
                    <a:pt x="369" y="549"/>
                  </a:cubicBezTo>
                  <a:cubicBezTo>
                    <a:pt x="321" y="550"/>
                    <a:pt x="326" y="541"/>
                    <a:pt x="326" y="589"/>
                  </a:cubicBezTo>
                  <a:cubicBezTo>
                    <a:pt x="325" y="689"/>
                    <a:pt x="325" y="790"/>
                    <a:pt x="325" y="891"/>
                  </a:cubicBezTo>
                  <a:cubicBezTo>
                    <a:pt x="325" y="916"/>
                    <a:pt x="320" y="937"/>
                    <a:pt x="296" y="950"/>
                  </a:cubicBezTo>
                  <a:cubicBezTo>
                    <a:pt x="256" y="971"/>
                    <a:pt x="212" y="946"/>
                    <a:pt x="213" y="900"/>
                  </a:cubicBezTo>
                  <a:cubicBezTo>
                    <a:pt x="213" y="791"/>
                    <a:pt x="215" y="682"/>
                    <a:pt x="217" y="573"/>
                  </a:cubicBezTo>
                  <a:cubicBezTo>
                    <a:pt x="218" y="555"/>
                    <a:pt x="213" y="549"/>
                    <a:pt x="196" y="546"/>
                  </a:cubicBezTo>
                  <a:cubicBezTo>
                    <a:pt x="161" y="541"/>
                    <a:pt x="146" y="522"/>
                    <a:pt x="152" y="487"/>
                  </a:cubicBezTo>
                  <a:cubicBezTo>
                    <a:pt x="157" y="458"/>
                    <a:pt x="168" y="430"/>
                    <a:pt x="176" y="401"/>
                  </a:cubicBezTo>
                  <a:cubicBezTo>
                    <a:pt x="191" y="350"/>
                    <a:pt x="207" y="299"/>
                    <a:pt x="221" y="248"/>
                  </a:cubicBezTo>
                  <a:cubicBezTo>
                    <a:pt x="225" y="234"/>
                    <a:pt x="222" y="218"/>
                    <a:pt x="222" y="204"/>
                  </a:cubicBezTo>
                  <a:cubicBezTo>
                    <a:pt x="220" y="204"/>
                    <a:pt x="218" y="204"/>
                    <a:pt x="216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6" name="Freeform 30"/>
            <p:cNvSpPr>
              <a:spLocks/>
            </p:cNvSpPr>
            <p:nvPr/>
          </p:nvSpPr>
          <p:spPr bwMode="auto">
            <a:xfrm>
              <a:off x="9659667" y="3495733"/>
              <a:ext cx="287338" cy="290513"/>
            </a:xfrm>
            <a:custGeom>
              <a:avLst/>
              <a:gdLst>
                <a:gd name="T0" fmla="*/ 373 w 373"/>
                <a:gd name="T1" fmla="*/ 188 h 377"/>
                <a:gd name="T2" fmla="*/ 187 w 373"/>
                <a:gd name="T3" fmla="*/ 376 h 377"/>
                <a:gd name="T4" fmla="*/ 0 w 373"/>
                <a:gd name="T5" fmla="*/ 186 h 377"/>
                <a:gd name="T6" fmla="*/ 186 w 373"/>
                <a:gd name="T7" fmla="*/ 1 h 377"/>
                <a:gd name="T8" fmla="*/ 373 w 373"/>
                <a:gd name="T9" fmla="*/ 18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7">
                  <a:moveTo>
                    <a:pt x="373" y="188"/>
                  </a:moveTo>
                  <a:cubicBezTo>
                    <a:pt x="373" y="290"/>
                    <a:pt x="288" y="376"/>
                    <a:pt x="187" y="376"/>
                  </a:cubicBezTo>
                  <a:cubicBezTo>
                    <a:pt x="86" y="377"/>
                    <a:pt x="0" y="289"/>
                    <a:pt x="0" y="186"/>
                  </a:cubicBezTo>
                  <a:cubicBezTo>
                    <a:pt x="1" y="86"/>
                    <a:pt x="86" y="1"/>
                    <a:pt x="186" y="1"/>
                  </a:cubicBezTo>
                  <a:cubicBezTo>
                    <a:pt x="288" y="0"/>
                    <a:pt x="373" y="85"/>
                    <a:pt x="373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7" name="Freeform 31"/>
            <p:cNvSpPr>
              <a:spLocks/>
            </p:cNvSpPr>
            <p:nvPr/>
          </p:nvSpPr>
          <p:spPr bwMode="auto">
            <a:xfrm>
              <a:off x="10770917" y="3571934"/>
              <a:ext cx="269875" cy="273049"/>
            </a:xfrm>
            <a:custGeom>
              <a:avLst/>
              <a:gdLst>
                <a:gd name="T0" fmla="*/ 350 w 350"/>
                <a:gd name="T1" fmla="*/ 177 h 354"/>
                <a:gd name="T2" fmla="*/ 174 w 350"/>
                <a:gd name="T3" fmla="*/ 354 h 354"/>
                <a:gd name="T4" fmla="*/ 0 w 350"/>
                <a:gd name="T5" fmla="*/ 178 h 354"/>
                <a:gd name="T6" fmla="*/ 176 w 350"/>
                <a:gd name="T7" fmla="*/ 1 h 354"/>
                <a:gd name="T8" fmla="*/ 350 w 350"/>
                <a:gd name="T9" fmla="*/ 177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54">
                  <a:moveTo>
                    <a:pt x="350" y="177"/>
                  </a:moveTo>
                  <a:cubicBezTo>
                    <a:pt x="349" y="272"/>
                    <a:pt x="267" y="354"/>
                    <a:pt x="174" y="354"/>
                  </a:cubicBezTo>
                  <a:cubicBezTo>
                    <a:pt x="81" y="353"/>
                    <a:pt x="0" y="271"/>
                    <a:pt x="0" y="178"/>
                  </a:cubicBezTo>
                  <a:cubicBezTo>
                    <a:pt x="0" y="83"/>
                    <a:pt x="82" y="0"/>
                    <a:pt x="176" y="1"/>
                  </a:cubicBezTo>
                  <a:cubicBezTo>
                    <a:pt x="268" y="2"/>
                    <a:pt x="350" y="84"/>
                    <a:pt x="350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8" name="Freeform 32"/>
            <p:cNvSpPr>
              <a:spLocks/>
            </p:cNvSpPr>
            <p:nvPr/>
          </p:nvSpPr>
          <p:spPr bwMode="auto">
            <a:xfrm>
              <a:off x="10234342" y="3960870"/>
              <a:ext cx="239714" cy="244475"/>
            </a:xfrm>
            <a:custGeom>
              <a:avLst/>
              <a:gdLst>
                <a:gd name="T0" fmla="*/ 311 w 311"/>
                <a:gd name="T1" fmla="*/ 159 h 317"/>
                <a:gd name="T2" fmla="*/ 156 w 311"/>
                <a:gd name="T3" fmla="*/ 316 h 317"/>
                <a:gd name="T4" fmla="*/ 1 w 311"/>
                <a:gd name="T5" fmla="*/ 158 h 317"/>
                <a:gd name="T6" fmla="*/ 157 w 311"/>
                <a:gd name="T7" fmla="*/ 2 h 317"/>
                <a:gd name="T8" fmla="*/ 311 w 311"/>
                <a:gd name="T9" fmla="*/ 15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7">
                  <a:moveTo>
                    <a:pt x="311" y="159"/>
                  </a:moveTo>
                  <a:cubicBezTo>
                    <a:pt x="310" y="243"/>
                    <a:pt x="238" y="316"/>
                    <a:pt x="156" y="316"/>
                  </a:cubicBezTo>
                  <a:cubicBezTo>
                    <a:pt x="73" y="317"/>
                    <a:pt x="0" y="243"/>
                    <a:pt x="1" y="158"/>
                  </a:cubicBezTo>
                  <a:cubicBezTo>
                    <a:pt x="1" y="72"/>
                    <a:pt x="73" y="0"/>
                    <a:pt x="157" y="2"/>
                  </a:cubicBezTo>
                  <a:cubicBezTo>
                    <a:pt x="241" y="3"/>
                    <a:pt x="311" y="75"/>
                    <a:pt x="31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5" name="Таблица 4"/>
          <p:cNvGraphicFramePr>
            <a:graphicFrameLocks noGrp="1"/>
          </p:cNvGraphicFramePr>
          <p:nvPr/>
        </p:nvGraphicFramePr>
        <p:xfrm>
          <a:off x="357158" y="2214554"/>
          <a:ext cx="8501063" cy="3740150"/>
        </p:xfrm>
        <a:graphic>
          <a:graphicData uri="http://schemas.openxmlformats.org/drawingml/2006/table">
            <a:tbl>
              <a:tblPr/>
              <a:tblGrid>
                <a:gridCol w="2786063"/>
                <a:gridCol w="1357312"/>
                <a:gridCol w="714375"/>
                <a:gridCol w="928688"/>
                <a:gridCol w="820737"/>
                <a:gridCol w="947738"/>
                <a:gridCol w="946150"/>
              </a:tblGrid>
              <a:tr h="22225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115" marR="43115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7470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личество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лучате-лей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мер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сходов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тыс.руб.</a:t>
                      </a: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92868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а единовременного пособия при рождении ребенка лицам, не подлежащим обязательному социальному страхованию на случай временной нетрудоспособности и в связи с материнство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112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18004,12руб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032,12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65138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е денежных средств на содержание ребенка опекуну (попечителю)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7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на 1 чел.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 В месяц 5455,0 руб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2674,04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815,6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3815,66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74700">
                <a:tc>
                  <a:txBody>
                    <a:bodyPr/>
                    <a:lstStyle/>
                    <a:p>
                      <a:pPr marL="0" marR="0" lvl="0" indent="4572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ыплаты единовременных пособий усыновителям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8021" marR="48021" marT="0" marB="0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8 человек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на 1 чел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.  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азовая выплата 150,0тыс</a:t>
                      </a: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. </a:t>
                      </a:r>
                      <a:r>
                        <a:rPr lang="ru-RU" sz="1200" dirty="0" smtClean="0">
                          <a:latin typeface="Times New Roman"/>
                          <a:ea typeface="Times New Roman"/>
                          <a:cs typeface="Times New Roman"/>
                        </a:rPr>
                        <a:t>руб.</a:t>
                      </a: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570,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>
                          <a:latin typeface="Times New Roman"/>
                          <a:ea typeface="Times New Roman"/>
                          <a:cs typeface="Times New Roman"/>
                        </a:rPr>
                        <a:t>427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ru-RU" sz="1200" dirty="0">
                        <a:latin typeface="Times New Roman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>
                          <a:latin typeface="Times New Roman"/>
                          <a:ea typeface="Times New Roman"/>
                          <a:cs typeface="Times New Roman"/>
                        </a:rPr>
                        <a:t>427,50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214414" y="142852"/>
            <a:ext cx="6357982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400" dirty="0" smtClean="0">
                <a:solidFill>
                  <a:schemeClr val="bg1"/>
                </a:solidFill>
              </a:rPr>
              <a:t> </a:t>
            </a:r>
            <a:r>
              <a:rPr lang="ru-RU" b="1" dirty="0" smtClean="0">
                <a:solidFill>
                  <a:schemeClr val="bg1"/>
                </a:solidFill>
              </a:rPr>
              <a:t>Поддержка материнства и детства на 2021 год и плановый период 2022-2023 годы</a:t>
            </a:r>
            <a:endParaRPr lang="ru-RU" b="1" dirty="0">
              <a:solidFill>
                <a:schemeClr val="bg1"/>
              </a:solidFill>
            </a:endParaRPr>
          </a:p>
        </p:txBody>
      </p:sp>
      <p:grpSp>
        <p:nvGrpSpPr>
          <p:cNvPr id="6" name="Группа 34"/>
          <p:cNvGrpSpPr/>
          <p:nvPr/>
        </p:nvGrpSpPr>
        <p:grpSpPr>
          <a:xfrm>
            <a:off x="7929586" y="357166"/>
            <a:ext cx="1009476" cy="765247"/>
            <a:chOff x="9426304" y="3495733"/>
            <a:chExt cx="1844676" cy="1473200"/>
          </a:xfrm>
          <a:solidFill>
            <a:schemeClr val="accent4">
              <a:lumMod val="40000"/>
              <a:lumOff val="60000"/>
            </a:schemeClr>
          </a:solidFill>
        </p:grpSpPr>
        <p:sp>
          <p:nvSpPr>
            <p:cNvPr id="8" name="Freeform 27"/>
            <p:cNvSpPr>
              <a:spLocks/>
            </p:cNvSpPr>
            <p:nvPr/>
          </p:nvSpPr>
          <p:spPr bwMode="auto">
            <a:xfrm>
              <a:off x="9426304" y="3795771"/>
              <a:ext cx="765176" cy="1173162"/>
            </a:xfrm>
            <a:custGeom>
              <a:avLst/>
              <a:gdLst>
                <a:gd name="T0" fmla="*/ 674 w 991"/>
                <a:gd name="T1" fmla="*/ 344 h 1522"/>
                <a:gd name="T2" fmla="*/ 674 w 991"/>
                <a:gd name="T3" fmla="*/ 369 h 1522"/>
                <a:gd name="T4" fmla="*/ 689 w 991"/>
                <a:gd name="T5" fmla="*/ 1244 h 1522"/>
                <a:gd name="T6" fmla="*/ 691 w 991"/>
                <a:gd name="T7" fmla="*/ 1412 h 1522"/>
                <a:gd name="T8" fmla="*/ 603 w 991"/>
                <a:gd name="T9" fmla="*/ 1502 h 1522"/>
                <a:gd name="T10" fmla="*/ 512 w 991"/>
                <a:gd name="T11" fmla="*/ 1417 h 1522"/>
                <a:gd name="T12" fmla="*/ 512 w 991"/>
                <a:gd name="T13" fmla="*/ 1215 h 1522"/>
                <a:gd name="T14" fmla="*/ 506 w 991"/>
                <a:gd name="T15" fmla="*/ 833 h 1522"/>
                <a:gd name="T16" fmla="*/ 495 w 991"/>
                <a:gd name="T17" fmla="*/ 749 h 1522"/>
                <a:gd name="T18" fmla="*/ 485 w 991"/>
                <a:gd name="T19" fmla="*/ 749 h 1522"/>
                <a:gd name="T20" fmla="*/ 476 w 991"/>
                <a:gd name="T21" fmla="*/ 793 h 1522"/>
                <a:gd name="T22" fmla="*/ 465 w 991"/>
                <a:gd name="T23" fmla="*/ 1107 h 1522"/>
                <a:gd name="T24" fmla="*/ 466 w 991"/>
                <a:gd name="T25" fmla="*/ 1409 h 1522"/>
                <a:gd name="T26" fmla="*/ 336 w 991"/>
                <a:gd name="T27" fmla="*/ 1493 h 1522"/>
                <a:gd name="T28" fmla="*/ 287 w 991"/>
                <a:gd name="T29" fmla="*/ 1412 h 1522"/>
                <a:gd name="T30" fmla="*/ 290 w 991"/>
                <a:gd name="T31" fmla="*/ 1102 h 1522"/>
                <a:gd name="T32" fmla="*/ 304 w 991"/>
                <a:gd name="T33" fmla="*/ 359 h 1522"/>
                <a:gd name="T34" fmla="*/ 300 w 991"/>
                <a:gd name="T35" fmla="*/ 341 h 1522"/>
                <a:gd name="T36" fmla="*/ 249 w 991"/>
                <a:gd name="T37" fmla="*/ 420 h 1522"/>
                <a:gd name="T38" fmla="*/ 130 w 991"/>
                <a:gd name="T39" fmla="*/ 605 h 1522"/>
                <a:gd name="T40" fmla="*/ 64 w 991"/>
                <a:gd name="T41" fmla="*/ 642 h 1522"/>
                <a:gd name="T42" fmla="*/ 3 w 991"/>
                <a:gd name="T43" fmla="*/ 592 h 1522"/>
                <a:gd name="T44" fmla="*/ 9 w 991"/>
                <a:gd name="T45" fmla="*/ 543 h 1522"/>
                <a:gd name="T46" fmla="*/ 235 w 991"/>
                <a:gd name="T47" fmla="*/ 131 h 1522"/>
                <a:gd name="T48" fmla="*/ 273 w 991"/>
                <a:gd name="T49" fmla="*/ 77 h 1522"/>
                <a:gd name="T50" fmla="*/ 432 w 991"/>
                <a:gd name="T51" fmla="*/ 10 h 1522"/>
                <a:gd name="T52" fmla="*/ 537 w 991"/>
                <a:gd name="T53" fmla="*/ 11 h 1522"/>
                <a:gd name="T54" fmla="*/ 715 w 991"/>
                <a:gd name="T55" fmla="*/ 91 h 1522"/>
                <a:gd name="T56" fmla="*/ 827 w 991"/>
                <a:gd name="T57" fmla="*/ 283 h 1522"/>
                <a:gd name="T58" fmla="*/ 966 w 991"/>
                <a:gd name="T59" fmla="*/ 539 h 1522"/>
                <a:gd name="T60" fmla="*/ 922 w 991"/>
                <a:gd name="T61" fmla="*/ 640 h 1522"/>
                <a:gd name="T62" fmla="*/ 851 w 991"/>
                <a:gd name="T63" fmla="*/ 610 h 1522"/>
                <a:gd name="T64" fmla="*/ 695 w 991"/>
                <a:gd name="T65" fmla="*/ 367 h 1522"/>
                <a:gd name="T66" fmla="*/ 679 w 991"/>
                <a:gd name="T67" fmla="*/ 343 h 1522"/>
                <a:gd name="T68" fmla="*/ 674 w 991"/>
                <a:gd name="T69" fmla="*/ 344 h 15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991" h="1522">
                  <a:moveTo>
                    <a:pt x="674" y="344"/>
                  </a:moveTo>
                  <a:cubicBezTo>
                    <a:pt x="674" y="352"/>
                    <a:pt x="674" y="360"/>
                    <a:pt x="674" y="369"/>
                  </a:cubicBezTo>
                  <a:cubicBezTo>
                    <a:pt x="679" y="661"/>
                    <a:pt x="684" y="952"/>
                    <a:pt x="689" y="1244"/>
                  </a:cubicBezTo>
                  <a:cubicBezTo>
                    <a:pt x="690" y="1300"/>
                    <a:pt x="691" y="1356"/>
                    <a:pt x="691" y="1412"/>
                  </a:cubicBezTo>
                  <a:cubicBezTo>
                    <a:pt x="691" y="1464"/>
                    <a:pt x="655" y="1501"/>
                    <a:pt x="603" y="1502"/>
                  </a:cubicBezTo>
                  <a:cubicBezTo>
                    <a:pt x="553" y="1504"/>
                    <a:pt x="513" y="1468"/>
                    <a:pt x="512" y="1417"/>
                  </a:cubicBezTo>
                  <a:cubicBezTo>
                    <a:pt x="510" y="1349"/>
                    <a:pt x="513" y="1282"/>
                    <a:pt x="512" y="1215"/>
                  </a:cubicBezTo>
                  <a:cubicBezTo>
                    <a:pt x="511" y="1088"/>
                    <a:pt x="509" y="960"/>
                    <a:pt x="506" y="833"/>
                  </a:cubicBezTo>
                  <a:cubicBezTo>
                    <a:pt x="505" y="805"/>
                    <a:pt x="499" y="777"/>
                    <a:pt x="495" y="749"/>
                  </a:cubicBezTo>
                  <a:cubicBezTo>
                    <a:pt x="492" y="749"/>
                    <a:pt x="488" y="749"/>
                    <a:pt x="485" y="749"/>
                  </a:cubicBezTo>
                  <a:cubicBezTo>
                    <a:pt x="482" y="764"/>
                    <a:pt x="476" y="778"/>
                    <a:pt x="476" y="793"/>
                  </a:cubicBezTo>
                  <a:cubicBezTo>
                    <a:pt x="471" y="898"/>
                    <a:pt x="467" y="1002"/>
                    <a:pt x="465" y="1107"/>
                  </a:cubicBezTo>
                  <a:cubicBezTo>
                    <a:pt x="464" y="1207"/>
                    <a:pt x="467" y="1308"/>
                    <a:pt x="466" y="1409"/>
                  </a:cubicBezTo>
                  <a:cubicBezTo>
                    <a:pt x="466" y="1481"/>
                    <a:pt x="402" y="1522"/>
                    <a:pt x="336" y="1493"/>
                  </a:cubicBezTo>
                  <a:cubicBezTo>
                    <a:pt x="301" y="1477"/>
                    <a:pt x="287" y="1449"/>
                    <a:pt x="287" y="1412"/>
                  </a:cubicBezTo>
                  <a:cubicBezTo>
                    <a:pt x="288" y="1309"/>
                    <a:pt x="289" y="1206"/>
                    <a:pt x="290" y="1102"/>
                  </a:cubicBezTo>
                  <a:cubicBezTo>
                    <a:pt x="295" y="854"/>
                    <a:pt x="300" y="607"/>
                    <a:pt x="304" y="359"/>
                  </a:cubicBezTo>
                  <a:cubicBezTo>
                    <a:pt x="304" y="353"/>
                    <a:pt x="304" y="347"/>
                    <a:pt x="300" y="341"/>
                  </a:cubicBezTo>
                  <a:cubicBezTo>
                    <a:pt x="283" y="367"/>
                    <a:pt x="266" y="394"/>
                    <a:pt x="249" y="420"/>
                  </a:cubicBezTo>
                  <a:cubicBezTo>
                    <a:pt x="209" y="482"/>
                    <a:pt x="169" y="544"/>
                    <a:pt x="130" y="605"/>
                  </a:cubicBezTo>
                  <a:cubicBezTo>
                    <a:pt x="115" y="630"/>
                    <a:pt x="93" y="645"/>
                    <a:pt x="64" y="642"/>
                  </a:cubicBezTo>
                  <a:cubicBezTo>
                    <a:pt x="34" y="638"/>
                    <a:pt x="9" y="623"/>
                    <a:pt x="3" y="592"/>
                  </a:cubicBezTo>
                  <a:cubicBezTo>
                    <a:pt x="0" y="577"/>
                    <a:pt x="2" y="557"/>
                    <a:pt x="9" y="543"/>
                  </a:cubicBezTo>
                  <a:cubicBezTo>
                    <a:pt x="84" y="405"/>
                    <a:pt x="159" y="268"/>
                    <a:pt x="235" y="131"/>
                  </a:cubicBezTo>
                  <a:cubicBezTo>
                    <a:pt x="246" y="112"/>
                    <a:pt x="259" y="95"/>
                    <a:pt x="273" y="77"/>
                  </a:cubicBezTo>
                  <a:cubicBezTo>
                    <a:pt x="313" y="25"/>
                    <a:pt x="365" y="2"/>
                    <a:pt x="432" y="10"/>
                  </a:cubicBezTo>
                  <a:cubicBezTo>
                    <a:pt x="467" y="14"/>
                    <a:pt x="503" y="16"/>
                    <a:pt x="537" y="11"/>
                  </a:cubicBezTo>
                  <a:cubicBezTo>
                    <a:pt x="615" y="0"/>
                    <a:pt x="674" y="27"/>
                    <a:pt x="715" y="91"/>
                  </a:cubicBezTo>
                  <a:cubicBezTo>
                    <a:pt x="755" y="153"/>
                    <a:pt x="791" y="218"/>
                    <a:pt x="827" y="283"/>
                  </a:cubicBezTo>
                  <a:cubicBezTo>
                    <a:pt x="874" y="367"/>
                    <a:pt x="920" y="453"/>
                    <a:pt x="966" y="539"/>
                  </a:cubicBezTo>
                  <a:cubicBezTo>
                    <a:pt x="991" y="584"/>
                    <a:pt x="972" y="628"/>
                    <a:pt x="922" y="640"/>
                  </a:cubicBezTo>
                  <a:cubicBezTo>
                    <a:pt x="895" y="647"/>
                    <a:pt x="868" y="637"/>
                    <a:pt x="851" y="610"/>
                  </a:cubicBezTo>
                  <a:cubicBezTo>
                    <a:pt x="799" y="529"/>
                    <a:pt x="747" y="448"/>
                    <a:pt x="695" y="367"/>
                  </a:cubicBezTo>
                  <a:cubicBezTo>
                    <a:pt x="689" y="359"/>
                    <a:pt x="684" y="351"/>
                    <a:pt x="679" y="343"/>
                  </a:cubicBezTo>
                  <a:cubicBezTo>
                    <a:pt x="677" y="343"/>
                    <a:pt x="676" y="343"/>
                    <a:pt x="674" y="34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0" name="Freeform 28"/>
            <p:cNvSpPr>
              <a:spLocks/>
            </p:cNvSpPr>
            <p:nvPr/>
          </p:nvSpPr>
          <p:spPr bwMode="auto">
            <a:xfrm>
              <a:off x="10547080" y="3856092"/>
              <a:ext cx="723900" cy="1100136"/>
            </a:xfrm>
            <a:custGeom>
              <a:avLst/>
              <a:gdLst>
                <a:gd name="T0" fmla="*/ 303 w 937"/>
                <a:gd name="T1" fmla="*/ 263 h 1426"/>
                <a:gd name="T2" fmla="*/ 243 w 937"/>
                <a:gd name="T3" fmla="*/ 366 h 1426"/>
                <a:gd name="T4" fmla="*/ 121 w 937"/>
                <a:gd name="T5" fmla="*/ 575 h 1426"/>
                <a:gd name="T6" fmla="*/ 57 w 937"/>
                <a:gd name="T7" fmla="*/ 606 h 1426"/>
                <a:gd name="T8" fmla="*/ 1 w 937"/>
                <a:gd name="T9" fmla="*/ 552 h 1426"/>
                <a:gd name="T10" fmla="*/ 9 w 937"/>
                <a:gd name="T11" fmla="*/ 512 h 1426"/>
                <a:gd name="T12" fmla="*/ 257 w 937"/>
                <a:gd name="T13" fmla="*/ 94 h 1426"/>
                <a:gd name="T14" fmla="*/ 341 w 937"/>
                <a:gd name="T15" fmla="*/ 15 h 1426"/>
                <a:gd name="T16" fmla="*/ 401 w 937"/>
                <a:gd name="T17" fmla="*/ 6 h 1426"/>
                <a:gd name="T18" fmla="*/ 515 w 937"/>
                <a:gd name="T19" fmla="*/ 5 h 1426"/>
                <a:gd name="T20" fmla="*/ 640 w 937"/>
                <a:gd name="T21" fmla="*/ 56 h 1426"/>
                <a:gd name="T22" fmla="*/ 728 w 937"/>
                <a:gd name="T23" fmla="*/ 191 h 1426"/>
                <a:gd name="T24" fmla="*/ 915 w 937"/>
                <a:gd name="T25" fmla="*/ 505 h 1426"/>
                <a:gd name="T26" fmla="*/ 895 w 937"/>
                <a:gd name="T27" fmla="*/ 597 h 1426"/>
                <a:gd name="T28" fmla="*/ 805 w 937"/>
                <a:gd name="T29" fmla="*/ 572 h 1426"/>
                <a:gd name="T30" fmla="*/ 631 w 937"/>
                <a:gd name="T31" fmla="*/ 276 h 1426"/>
                <a:gd name="T32" fmla="*/ 620 w 937"/>
                <a:gd name="T33" fmla="*/ 260 h 1426"/>
                <a:gd name="T34" fmla="*/ 615 w 937"/>
                <a:gd name="T35" fmla="*/ 432 h 1426"/>
                <a:gd name="T36" fmla="*/ 728 w 937"/>
                <a:gd name="T37" fmla="*/ 756 h 1426"/>
                <a:gd name="T38" fmla="*/ 698 w 937"/>
                <a:gd name="T39" fmla="*/ 814 h 1426"/>
                <a:gd name="T40" fmla="*/ 622 w 937"/>
                <a:gd name="T41" fmla="*/ 814 h 1426"/>
                <a:gd name="T42" fmla="*/ 622 w 937"/>
                <a:gd name="T43" fmla="*/ 838 h 1426"/>
                <a:gd name="T44" fmla="*/ 629 w 937"/>
                <a:gd name="T45" fmla="*/ 1336 h 1426"/>
                <a:gd name="T46" fmla="*/ 621 w 937"/>
                <a:gd name="T47" fmla="*/ 1381 h 1426"/>
                <a:gd name="T48" fmla="*/ 564 w 937"/>
                <a:gd name="T49" fmla="*/ 1423 h 1426"/>
                <a:gd name="T50" fmla="*/ 506 w 937"/>
                <a:gd name="T51" fmla="*/ 1382 h 1426"/>
                <a:gd name="T52" fmla="*/ 496 w 937"/>
                <a:gd name="T53" fmla="*/ 1321 h 1426"/>
                <a:gd name="T54" fmla="*/ 494 w 937"/>
                <a:gd name="T55" fmla="*/ 841 h 1426"/>
                <a:gd name="T56" fmla="*/ 494 w 937"/>
                <a:gd name="T57" fmla="*/ 816 h 1426"/>
                <a:gd name="T58" fmla="*/ 442 w 937"/>
                <a:gd name="T59" fmla="*/ 817 h 1426"/>
                <a:gd name="T60" fmla="*/ 433 w 937"/>
                <a:gd name="T61" fmla="*/ 834 h 1426"/>
                <a:gd name="T62" fmla="*/ 430 w 937"/>
                <a:gd name="T63" fmla="*/ 1046 h 1426"/>
                <a:gd name="T64" fmla="*/ 431 w 937"/>
                <a:gd name="T65" fmla="*/ 1331 h 1426"/>
                <a:gd name="T66" fmla="*/ 414 w 937"/>
                <a:gd name="T67" fmla="*/ 1394 h 1426"/>
                <a:gd name="T68" fmla="*/ 357 w 937"/>
                <a:gd name="T69" fmla="*/ 1422 h 1426"/>
                <a:gd name="T70" fmla="*/ 306 w 937"/>
                <a:gd name="T71" fmla="*/ 1380 h 1426"/>
                <a:gd name="T72" fmla="*/ 298 w 937"/>
                <a:gd name="T73" fmla="*/ 1314 h 1426"/>
                <a:gd name="T74" fmla="*/ 306 w 937"/>
                <a:gd name="T75" fmla="*/ 842 h 1426"/>
                <a:gd name="T76" fmla="*/ 306 w 937"/>
                <a:gd name="T77" fmla="*/ 817 h 1426"/>
                <a:gd name="T78" fmla="*/ 224 w 937"/>
                <a:gd name="T79" fmla="*/ 813 h 1426"/>
                <a:gd name="T80" fmla="*/ 197 w 937"/>
                <a:gd name="T81" fmla="*/ 759 h 1426"/>
                <a:gd name="T82" fmla="*/ 280 w 937"/>
                <a:gd name="T83" fmla="*/ 578 h 1426"/>
                <a:gd name="T84" fmla="*/ 310 w 937"/>
                <a:gd name="T85" fmla="*/ 274 h 1426"/>
                <a:gd name="T86" fmla="*/ 308 w 937"/>
                <a:gd name="T87" fmla="*/ 265 h 1426"/>
                <a:gd name="T88" fmla="*/ 303 w 937"/>
                <a:gd name="T89" fmla="*/ 263 h 14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937" h="1426">
                  <a:moveTo>
                    <a:pt x="303" y="263"/>
                  </a:moveTo>
                  <a:cubicBezTo>
                    <a:pt x="283" y="298"/>
                    <a:pt x="263" y="332"/>
                    <a:pt x="243" y="366"/>
                  </a:cubicBezTo>
                  <a:cubicBezTo>
                    <a:pt x="202" y="436"/>
                    <a:pt x="162" y="505"/>
                    <a:pt x="121" y="575"/>
                  </a:cubicBezTo>
                  <a:cubicBezTo>
                    <a:pt x="106" y="600"/>
                    <a:pt x="82" y="611"/>
                    <a:pt x="57" y="606"/>
                  </a:cubicBezTo>
                  <a:cubicBezTo>
                    <a:pt x="27" y="600"/>
                    <a:pt x="4" y="580"/>
                    <a:pt x="1" y="552"/>
                  </a:cubicBezTo>
                  <a:cubicBezTo>
                    <a:pt x="0" y="539"/>
                    <a:pt x="2" y="523"/>
                    <a:pt x="9" y="512"/>
                  </a:cubicBezTo>
                  <a:cubicBezTo>
                    <a:pt x="91" y="372"/>
                    <a:pt x="173" y="233"/>
                    <a:pt x="257" y="94"/>
                  </a:cubicBezTo>
                  <a:cubicBezTo>
                    <a:pt x="277" y="61"/>
                    <a:pt x="302" y="29"/>
                    <a:pt x="341" y="15"/>
                  </a:cubicBezTo>
                  <a:cubicBezTo>
                    <a:pt x="360" y="8"/>
                    <a:pt x="381" y="6"/>
                    <a:pt x="401" y="6"/>
                  </a:cubicBezTo>
                  <a:cubicBezTo>
                    <a:pt x="439" y="5"/>
                    <a:pt x="477" y="10"/>
                    <a:pt x="515" y="5"/>
                  </a:cubicBezTo>
                  <a:cubicBezTo>
                    <a:pt x="567" y="0"/>
                    <a:pt x="610" y="16"/>
                    <a:pt x="640" y="56"/>
                  </a:cubicBezTo>
                  <a:cubicBezTo>
                    <a:pt x="672" y="99"/>
                    <a:pt x="700" y="145"/>
                    <a:pt x="728" y="191"/>
                  </a:cubicBezTo>
                  <a:cubicBezTo>
                    <a:pt x="791" y="295"/>
                    <a:pt x="853" y="400"/>
                    <a:pt x="915" y="505"/>
                  </a:cubicBezTo>
                  <a:cubicBezTo>
                    <a:pt x="937" y="541"/>
                    <a:pt x="928" y="577"/>
                    <a:pt x="895" y="597"/>
                  </a:cubicBezTo>
                  <a:cubicBezTo>
                    <a:pt x="860" y="617"/>
                    <a:pt x="827" y="608"/>
                    <a:pt x="805" y="572"/>
                  </a:cubicBezTo>
                  <a:cubicBezTo>
                    <a:pt x="747" y="473"/>
                    <a:pt x="689" y="374"/>
                    <a:pt x="631" y="276"/>
                  </a:cubicBezTo>
                  <a:cubicBezTo>
                    <a:pt x="629" y="271"/>
                    <a:pt x="626" y="268"/>
                    <a:pt x="620" y="260"/>
                  </a:cubicBezTo>
                  <a:cubicBezTo>
                    <a:pt x="609" y="320"/>
                    <a:pt x="609" y="376"/>
                    <a:pt x="615" y="432"/>
                  </a:cubicBezTo>
                  <a:cubicBezTo>
                    <a:pt x="628" y="549"/>
                    <a:pt x="669" y="656"/>
                    <a:pt x="728" y="756"/>
                  </a:cubicBezTo>
                  <a:cubicBezTo>
                    <a:pt x="754" y="799"/>
                    <a:pt x="749" y="809"/>
                    <a:pt x="698" y="814"/>
                  </a:cubicBezTo>
                  <a:cubicBezTo>
                    <a:pt x="674" y="816"/>
                    <a:pt x="649" y="814"/>
                    <a:pt x="622" y="814"/>
                  </a:cubicBezTo>
                  <a:cubicBezTo>
                    <a:pt x="622" y="824"/>
                    <a:pt x="622" y="831"/>
                    <a:pt x="622" y="838"/>
                  </a:cubicBezTo>
                  <a:cubicBezTo>
                    <a:pt x="624" y="1004"/>
                    <a:pt x="627" y="1170"/>
                    <a:pt x="629" y="1336"/>
                  </a:cubicBezTo>
                  <a:cubicBezTo>
                    <a:pt x="629" y="1351"/>
                    <a:pt x="626" y="1367"/>
                    <a:pt x="621" y="1381"/>
                  </a:cubicBezTo>
                  <a:cubicBezTo>
                    <a:pt x="613" y="1406"/>
                    <a:pt x="588" y="1423"/>
                    <a:pt x="564" y="1423"/>
                  </a:cubicBezTo>
                  <a:cubicBezTo>
                    <a:pt x="540" y="1423"/>
                    <a:pt x="513" y="1406"/>
                    <a:pt x="506" y="1382"/>
                  </a:cubicBezTo>
                  <a:cubicBezTo>
                    <a:pt x="499" y="1362"/>
                    <a:pt x="496" y="1341"/>
                    <a:pt x="496" y="1321"/>
                  </a:cubicBezTo>
                  <a:cubicBezTo>
                    <a:pt x="495" y="1161"/>
                    <a:pt x="495" y="1001"/>
                    <a:pt x="494" y="841"/>
                  </a:cubicBezTo>
                  <a:cubicBezTo>
                    <a:pt x="494" y="834"/>
                    <a:pt x="494" y="827"/>
                    <a:pt x="494" y="816"/>
                  </a:cubicBezTo>
                  <a:cubicBezTo>
                    <a:pt x="476" y="816"/>
                    <a:pt x="458" y="815"/>
                    <a:pt x="442" y="817"/>
                  </a:cubicBezTo>
                  <a:cubicBezTo>
                    <a:pt x="438" y="817"/>
                    <a:pt x="434" y="828"/>
                    <a:pt x="433" y="834"/>
                  </a:cubicBezTo>
                  <a:cubicBezTo>
                    <a:pt x="432" y="904"/>
                    <a:pt x="430" y="975"/>
                    <a:pt x="430" y="1046"/>
                  </a:cubicBezTo>
                  <a:cubicBezTo>
                    <a:pt x="430" y="1141"/>
                    <a:pt x="432" y="1236"/>
                    <a:pt x="431" y="1331"/>
                  </a:cubicBezTo>
                  <a:cubicBezTo>
                    <a:pt x="430" y="1352"/>
                    <a:pt x="424" y="1375"/>
                    <a:pt x="414" y="1394"/>
                  </a:cubicBezTo>
                  <a:cubicBezTo>
                    <a:pt x="404" y="1415"/>
                    <a:pt x="382" y="1426"/>
                    <a:pt x="357" y="1422"/>
                  </a:cubicBezTo>
                  <a:cubicBezTo>
                    <a:pt x="332" y="1419"/>
                    <a:pt x="313" y="1405"/>
                    <a:pt x="306" y="1380"/>
                  </a:cubicBezTo>
                  <a:cubicBezTo>
                    <a:pt x="300" y="1359"/>
                    <a:pt x="298" y="1336"/>
                    <a:pt x="298" y="1314"/>
                  </a:cubicBezTo>
                  <a:cubicBezTo>
                    <a:pt x="300" y="1156"/>
                    <a:pt x="303" y="999"/>
                    <a:pt x="306" y="842"/>
                  </a:cubicBezTo>
                  <a:cubicBezTo>
                    <a:pt x="306" y="834"/>
                    <a:pt x="306" y="826"/>
                    <a:pt x="306" y="817"/>
                  </a:cubicBezTo>
                  <a:cubicBezTo>
                    <a:pt x="277" y="816"/>
                    <a:pt x="251" y="816"/>
                    <a:pt x="224" y="813"/>
                  </a:cubicBezTo>
                  <a:cubicBezTo>
                    <a:pt x="179" y="808"/>
                    <a:pt x="174" y="799"/>
                    <a:pt x="197" y="759"/>
                  </a:cubicBezTo>
                  <a:cubicBezTo>
                    <a:pt x="231" y="701"/>
                    <a:pt x="260" y="642"/>
                    <a:pt x="280" y="578"/>
                  </a:cubicBezTo>
                  <a:cubicBezTo>
                    <a:pt x="311" y="479"/>
                    <a:pt x="326" y="378"/>
                    <a:pt x="310" y="274"/>
                  </a:cubicBezTo>
                  <a:cubicBezTo>
                    <a:pt x="310" y="271"/>
                    <a:pt x="309" y="268"/>
                    <a:pt x="308" y="265"/>
                  </a:cubicBezTo>
                  <a:cubicBezTo>
                    <a:pt x="307" y="265"/>
                    <a:pt x="305" y="264"/>
                    <a:pt x="303" y="2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1" name="Freeform 29"/>
            <p:cNvSpPr>
              <a:spLocks/>
            </p:cNvSpPr>
            <p:nvPr/>
          </p:nvSpPr>
          <p:spPr bwMode="auto">
            <a:xfrm>
              <a:off x="10080354" y="4214868"/>
              <a:ext cx="547688" cy="749298"/>
            </a:xfrm>
            <a:custGeom>
              <a:avLst/>
              <a:gdLst>
                <a:gd name="T0" fmla="*/ 216 w 711"/>
                <a:gd name="T1" fmla="*/ 204 h 971"/>
                <a:gd name="T2" fmla="*/ 102 w 711"/>
                <a:gd name="T3" fmla="*/ 381 h 971"/>
                <a:gd name="T4" fmla="*/ 24 w 711"/>
                <a:gd name="T5" fmla="*/ 395 h 971"/>
                <a:gd name="T6" fmla="*/ 12 w 711"/>
                <a:gd name="T7" fmla="*/ 343 h 971"/>
                <a:gd name="T8" fmla="*/ 170 w 711"/>
                <a:gd name="T9" fmla="*/ 79 h 971"/>
                <a:gd name="T10" fmla="*/ 248 w 711"/>
                <a:gd name="T11" fmla="*/ 10 h 971"/>
                <a:gd name="T12" fmla="*/ 295 w 711"/>
                <a:gd name="T13" fmla="*/ 4 h 971"/>
                <a:gd name="T14" fmla="*/ 409 w 711"/>
                <a:gd name="T15" fmla="*/ 4 h 971"/>
                <a:gd name="T16" fmla="*/ 506 w 711"/>
                <a:gd name="T17" fmla="*/ 39 h 971"/>
                <a:gd name="T18" fmla="*/ 571 w 711"/>
                <a:gd name="T19" fmla="*/ 128 h 971"/>
                <a:gd name="T20" fmla="*/ 695 w 711"/>
                <a:gd name="T21" fmla="*/ 335 h 971"/>
                <a:gd name="T22" fmla="*/ 682 w 711"/>
                <a:gd name="T23" fmla="*/ 398 h 971"/>
                <a:gd name="T24" fmla="*/ 611 w 711"/>
                <a:gd name="T25" fmla="*/ 384 h 971"/>
                <a:gd name="T26" fmla="*/ 514 w 711"/>
                <a:gd name="T27" fmla="*/ 234 h 971"/>
                <a:gd name="T28" fmla="*/ 492 w 711"/>
                <a:gd name="T29" fmla="*/ 204 h 971"/>
                <a:gd name="T30" fmla="*/ 500 w 711"/>
                <a:gd name="T31" fmla="*/ 298 h 971"/>
                <a:gd name="T32" fmla="*/ 551 w 711"/>
                <a:gd name="T33" fmla="*/ 449 h 971"/>
                <a:gd name="T34" fmla="*/ 559 w 711"/>
                <a:gd name="T35" fmla="*/ 488 h 971"/>
                <a:gd name="T36" fmla="*/ 514 w 711"/>
                <a:gd name="T37" fmla="*/ 546 h 971"/>
                <a:gd name="T38" fmla="*/ 494 w 711"/>
                <a:gd name="T39" fmla="*/ 572 h 971"/>
                <a:gd name="T40" fmla="*/ 499 w 711"/>
                <a:gd name="T41" fmla="*/ 898 h 971"/>
                <a:gd name="T42" fmla="*/ 470 w 711"/>
                <a:gd name="T43" fmla="*/ 950 h 971"/>
                <a:gd name="T44" fmla="*/ 409 w 711"/>
                <a:gd name="T45" fmla="*/ 946 h 971"/>
                <a:gd name="T46" fmla="*/ 386 w 711"/>
                <a:gd name="T47" fmla="*/ 893 h 971"/>
                <a:gd name="T48" fmla="*/ 387 w 711"/>
                <a:gd name="T49" fmla="*/ 617 h 971"/>
                <a:gd name="T50" fmla="*/ 385 w 711"/>
                <a:gd name="T51" fmla="*/ 565 h 971"/>
                <a:gd name="T52" fmla="*/ 369 w 711"/>
                <a:gd name="T53" fmla="*/ 549 h 971"/>
                <a:gd name="T54" fmla="*/ 326 w 711"/>
                <a:gd name="T55" fmla="*/ 589 h 971"/>
                <a:gd name="T56" fmla="*/ 325 w 711"/>
                <a:gd name="T57" fmla="*/ 891 h 971"/>
                <a:gd name="T58" fmla="*/ 296 w 711"/>
                <a:gd name="T59" fmla="*/ 950 h 971"/>
                <a:gd name="T60" fmla="*/ 213 w 711"/>
                <a:gd name="T61" fmla="*/ 900 h 971"/>
                <a:gd name="T62" fmla="*/ 217 w 711"/>
                <a:gd name="T63" fmla="*/ 573 h 971"/>
                <a:gd name="T64" fmla="*/ 196 w 711"/>
                <a:gd name="T65" fmla="*/ 546 h 971"/>
                <a:gd name="T66" fmla="*/ 152 w 711"/>
                <a:gd name="T67" fmla="*/ 487 h 971"/>
                <a:gd name="T68" fmla="*/ 176 w 711"/>
                <a:gd name="T69" fmla="*/ 401 h 971"/>
                <a:gd name="T70" fmla="*/ 221 w 711"/>
                <a:gd name="T71" fmla="*/ 248 h 971"/>
                <a:gd name="T72" fmla="*/ 222 w 711"/>
                <a:gd name="T73" fmla="*/ 204 h 971"/>
                <a:gd name="T74" fmla="*/ 216 w 711"/>
                <a:gd name="T75" fmla="*/ 204 h 9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711" h="971">
                  <a:moveTo>
                    <a:pt x="216" y="204"/>
                  </a:moveTo>
                  <a:cubicBezTo>
                    <a:pt x="178" y="263"/>
                    <a:pt x="140" y="322"/>
                    <a:pt x="102" y="381"/>
                  </a:cubicBezTo>
                  <a:cubicBezTo>
                    <a:pt x="83" y="410"/>
                    <a:pt x="51" y="415"/>
                    <a:pt x="24" y="395"/>
                  </a:cubicBezTo>
                  <a:cubicBezTo>
                    <a:pt x="6" y="382"/>
                    <a:pt x="0" y="363"/>
                    <a:pt x="12" y="343"/>
                  </a:cubicBezTo>
                  <a:cubicBezTo>
                    <a:pt x="64" y="255"/>
                    <a:pt x="117" y="166"/>
                    <a:pt x="170" y="79"/>
                  </a:cubicBezTo>
                  <a:cubicBezTo>
                    <a:pt x="189" y="49"/>
                    <a:pt x="214" y="23"/>
                    <a:pt x="248" y="10"/>
                  </a:cubicBezTo>
                  <a:cubicBezTo>
                    <a:pt x="263" y="4"/>
                    <a:pt x="280" y="4"/>
                    <a:pt x="295" y="4"/>
                  </a:cubicBezTo>
                  <a:cubicBezTo>
                    <a:pt x="333" y="3"/>
                    <a:pt x="371" y="7"/>
                    <a:pt x="409" y="4"/>
                  </a:cubicBezTo>
                  <a:cubicBezTo>
                    <a:pt x="448" y="0"/>
                    <a:pt x="481" y="11"/>
                    <a:pt x="506" y="39"/>
                  </a:cubicBezTo>
                  <a:cubicBezTo>
                    <a:pt x="530" y="67"/>
                    <a:pt x="552" y="97"/>
                    <a:pt x="571" y="128"/>
                  </a:cubicBezTo>
                  <a:cubicBezTo>
                    <a:pt x="613" y="196"/>
                    <a:pt x="654" y="266"/>
                    <a:pt x="695" y="335"/>
                  </a:cubicBezTo>
                  <a:cubicBezTo>
                    <a:pt x="711" y="364"/>
                    <a:pt x="707" y="383"/>
                    <a:pt x="682" y="398"/>
                  </a:cubicBezTo>
                  <a:cubicBezTo>
                    <a:pt x="657" y="414"/>
                    <a:pt x="627" y="409"/>
                    <a:pt x="611" y="384"/>
                  </a:cubicBezTo>
                  <a:cubicBezTo>
                    <a:pt x="578" y="334"/>
                    <a:pt x="547" y="284"/>
                    <a:pt x="514" y="234"/>
                  </a:cubicBezTo>
                  <a:cubicBezTo>
                    <a:pt x="508" y="224"/>
                    <a:pt x="501" y="214"/>
                    <a:pt x="492" y="204"/>
                  </a:cubicBezTo>
                  <a:cubicBezTo>
                    <a:pt x="485" y="237"/>
                    <a:pt x="491" y="268"/>
                    <a:pt x="500" y="298"/>
                  </a:cubicBezTo>
                  <a:cubicBezTo>
                    <a:pt x="516" y="349"/>
                    <a:pt x="535" y="399"/>
                    <a:pt x="551" y="449"/>
                  </a:cubicBezTo>
                  <a:cubicBezTo>
                    <a:pt x="555" y="462"/>
                    <a:pt x="558" y="475"/>
                    <a:pt x="559" y="488"/>
                  </a:cubicBezTo>
                  <a:cubicBezTo>
                    <a:pt x="562" y="524"/>
                    <a:pt x="550" y="541"/>
                    <a:pt x="514" y="546"/>
                  </a:cubicBezTo>
                  <a:cubicBezTo>
                    <a:pt x="497" y="549"/>
                    <a:pt x="493" y="555"/>
                    <a:pt x="494" y="572"/>
                  </a:cubicBezTo>
                  <a:cubicBezTo>
                    <a:pt x="496" y="681"/>
                    <a:pt x="498" y="789"/>
                    <a:pt x="499" y="898"/>
                  </a:cubicBezTo>
                  <a:cubicBezTo>
                    <a:pt x="499" y="921"/>
                    <a:pt x="492" y="939"/>
                    <a:pt x="470" y="950"/>
                  </a:cubicBezTo>
                  <a:cubicBezTo>
                    <a:pt x="448" y="961"/>
                    <a:pt x="428" y="959"/>
                    <a:pt x="409" y="946"/>
                  </a:cubicBezTo>
                  <a:cubicBezTo>
                    <a:pt x="390" y="933"/>
                    <a:pt x="386" y="914"/>
                    <a:pt x="386" y="893"/>
                  </a:cubicBezTo>
                  <a:cubicBezTo>
                    <a:pt x="387" y="801"/>
                    <a:pt x="387" y="709"/>
                    <a:pt x="387" y="617"/>
                  </a:cubicBezTo>
                  <a:cubicBezTo>
                    <a:pt x="387" y="600"/>
                    <a:pt x="385" y="583"/>
                    <a:pt x="385" y="565"/>
                  </a:cubicBezTo>
                  <a:cubicBezTo>
                    <a:pt x="385" y="554"/>
                    <a:pt x="382" y="548"/>
                    <a:pt x="369" y="549"/>
                  </a:cubicBezTo>
                  <a:cubicBezTo>
                    <a:pt x="321" y="550"/>
                    <a:pt x="326" y="541"/>
                    <a:pt x="326" y="589"/>
                  </a:cubicBezTo>
                  <a:cubicBezTo>
                    <a:pt x="325" y="689"/>
                    <a:pt x="325" y="790"/>
                    <a:pt x="325" y="891"/>
                  </a:cubicBezTo>
                  <a:cubicBezTo>
                    <a:pt x="325" y="916"/>
                    <a:pt x="320" y="937"/>
                    <a:pt x="296" y="950"/>
                  </a:cubicBezTo>
                  <a:cubicBezTo>
                    <a:pt x="256" y="971"/>
                    <a:pt x="212" y="946"/>
                    <a:pt x="213" y="900"/>
                  </a:cubicBezTo>
                  <a:cubicBezTo>
                    <a:pt x="213" y="791"/>
                    <a:pt x="215" y="682"/>
                    <a:pt x="217" y="573"/>
                  </a:cubicBezTo>
                  <a:cubicBezTo>
                    <a:pt x="218" y="555"/>
                    <a:pt x="213" y="549"/>
                    <a:pt x="196" y="546"/>
                  </a:cubicBezTo>
                  <a:cubicBezTo>
                    <a:pt x="161" y="541"/>
                    <a:pt x="146" y="522"/>
                    <a:pt x="152" y="487"/>
                  </a:cubicBezTo>
                  <a:cubicBezTo>
                    <a:pt x="157" y="458"/>
                    <a:pt x="168" y="430"/>
                    <a:pt x="176" y="401"/>
                  </a:cubicBezTo>
                  <a:cubicBezTo>
                    <a:pt x="191" y="350"/>
                    <a:pt x="207" y="299"/>
                    <a:pt x="221" y="248"/>
                  </a:cubicBezTo>
                  <a:cubicBezTo>
                    <a:pt x="225" y="234"/>
                    <a:pt x="222" y="218"/>
                    <a:pt x="222" y="204"/>
                  </a:cubicBezTo>
                  <a:cubicBezTo>
                    <a:pt x="220" y="204"/>
                    <a:pt x="218" y="204"/>
                    <a:pt x="216" y="20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2" name="Freeform 30"/>
            <p:cNvSpPr>
              <a:spLocks/>
            </p:cNvSpPr>
            <p:nvPr/>
          </p:nvSpPr>
          <p:spPr bwMode="auto">
            <a:xfrm>
              <a:off x="9659667" y="3495733"/>
              <a:ext cx="287338" cy="290513"/>
            </a:xfrm>
            <a:custGeom>
              <a:avLst/>
              <a:gdLst>
                <a:gd name="T0" fmla="*/ 373 w 373"/>
                <a:gd name="T1" fmla="*/ 188 h 377"/>
                <a:gd name="T2" fmla="*/ 187 w 373"/>
                <a:gd name="T3" fmla="*/ 376 h 377"/>
                <a:gd name="T4" fmla="*/ 0 w 373"/>
                <a:gd name="T5" fmla="*/ 186 h 377"/>
                <a:gd name="T6" fmla="*/ 186 w 373"/>
                <a:gd name="T7" fmla="*/ 1 h 377"/>
                <a:gd name="T8" fmla="*/ 373 w 373"/>
                <a:gd name="T9" fmla="*/ 188 h 3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73" h="377">
                  <a:moveTo>
                    <a:pt x="373" y="188"/>
                  </a:moveTo>
                  <a:cubicBezTo>
                    <a:pt x="373" y="290"/>
                    <a:pt x="288" y="376"/>
                    <a:pt x="187" y="376"/>
                  </a:cubicBezTo>
                  <a:cubicBezTo>
                    <a:pt x="86" y="377"/>
                    <a:pt x="0" y="289"/>
                    <a:pt x="0" y="186"/>
                  </a:cubicBezTo>
                  <a:cubicBezTo>
                    <a:pt x="1" y="86"/>
                    <a:pt x="86" y="1"/>
                    <a:pt x="186" y="1"/>
                  </a:cubicBezTo>
                  <a:cubicBezTo>
                    <a:pt x="288" y="0"/>
                    <a:pt x="373" y="85"/>
                    <a:pt x="373" y="18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3" name="Freeform 31"/>
            <p:cNvSpPr>
              <a:spLocks/>
            </p:cNvSpPr>
            <p:nvPr/>
          </p:nvSpPr>
          <p:spPr bwMode="auto">
            <a:xfrm>
              <a:off x="10770917" y="3571934"/>
              <a:ext cx="269875" cy="273049"/>
            </a:xfrm>
            <a:custGeom>
              <a:avLst/>
              <a:gdLst>
                <a:gd name="T0" fmla="*/ 350 w 350"/>
                <a:gd name="T1" fmla="*/ 177 h 354"/>
                <a:gd name="T2" fmla="*/ 174 w 350"/>
                <a:gd name="T3" fmla="*/ 354 h 354"/>
                <a:gd name="T4" fmla="*/ 0 w 350"/>
                <a:gd name="T5" fmla="*/ 178 h 354"/>
                <a:gd name="T6" fmla="*/ 176 w 350"/>
                <a:gd name="T7" fmla="*/ 1 h 354"/>
                <a:gd name="T8" fmla="*/ 350 w 350"/>
                <a:gd name="T9" fmla="*/ 177 h 3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50" h="354">
                  <a:moveTo>
                    <a:pt x="350" y="177"/>
                  </a:moveTo>
                  <a:cubicBezTo>
                    <a:pt x="349" y="272"/>
                    <a:pt x="267" y="354"/>
                    <a:pt x="174" y="354"/>
                  </a:cubicBezTo>
                  <a:cubicBezTo>
                    <a:pt x="81" y="353"/>
                    <a:pt x="0" y="271"/>
                    <a:pt x="0" y="178"/>
                  </a:cubicBezTo>
                  <a:cubicBezTo>
                    <a:pt x="0" y="83"/>
                    <a:pt x="82" y="0"/>
                    <a:pt x="176" y="1"/>
                  </a:cubicBezTo>
                  <a:cubicBezTo>
                    <a:pt x="268" y="2"/>
                    <a:pt x="350" y="84"/>
                    <a:pt x="350" y="177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  <p:sp>
          <p:nvSpPr>
            <p:cNvPr id="14" name="Freeform 32"/>
            <p:cNvSpPr>
              <a:spLocks/>
            </p:cNvSpPr>
            <p:nvPr/>
          </p:nvSpPr>
          <p:spPr bwMode="auto">
            <a:xfrm>
              <a:off x="10234342" y="3960870"/>
              <a:ext cx="239714" cy="244475"/>
            </a:xfrm>
            <a:custGeom>
              <a:avLst/>
              <a:gdLst>
                <a:gd name="T0" fmla="*/ 311 w 311"/>
                <a:gd name="T1" fmla="*/ 159 h 317"/>
                <a:gd name="T2" fmla="*/ 156 w 311"/>
                <a:gd name="T3" fmla="*/ 316 h 317"/>
                <a:gd name="T4" fmla="*/ 1 w 311"/>
                <a:gd name="T5" fmla="*/ 158 h 317"/>
                <a:gd name="T6" fmla="*/ 157 w 311"/>
                <a:gd name="T7" fmla="*/ 2 h 317"/>
                <a:gd name="T8" fmla="*/ 311 w 311"/>
                <a:gd name="T9" fmla="*/ 15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1" h="317">
                  <a:moveTo>
                    <a:pt x="311" y="159"/>
                  </a:moveTo>
                  <a:cubicBezTo>
                    <a:pt x="310" y="243"/>
                    <a:pt x="238" y="316"/>
                    <a:pt x="156" y="316"/>
                  </a:cubicBezTo>
                  <a:cubicBezTo>
                    <a:pt x="73" y="317"/>
                    <a:pt x="0" y="243"/>
                    <a:pt x="1" y="158"/>
                  </a:cubicBezTo>
                  <a:cubicBezTo>
                    <a:pt x="1" y="72"/>
                    <a:pt x="73" y="0"/>
                    <a:pt x="157" y="2"/>
                  </a:cubicBezTo>
                  <a:cubicBezTo>
                    <a:pt x="241" y="3"/>
                    <a:pt x="311" y="75"/>
                    <a:pt x="311" y="15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/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5300" name="Rectangle 2"/>
          <p:cNvSpPr>
            <a:spLocks noChangeArrowheads="1"/>
          </p:cNvSpPr>
          <p:nvPr/>
        </p:nvSpPr>
        <p:spPr bwMode="auto">
          <a:xfrm>
            <a:off x="642910" y="1285860"/>
            <a:ext cx="7858180" cy="7858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>
              <a:defRPr/>
            </a:pPr>
            <a:r>
              <a:rPr lang="ru-RU" sz="1600" dirty="0"/>
              <a:t>Отрасль физической культуры и спорта в городе-курорте Железноводске Ставропольского края представляет спортивно-оздоровительный комплекс МБУ «Железноводск».</a:t>
            </a: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3500438"/>
          <a:ext cx="8501092" cy="2638426"/>
        </p:xfrm>
        <a:graphic>
          <a:graphicData uri="http://schemas.openxmlformats.org/drawingml/2006/table">
            <a:tbl>
              <a:tblPr/>
              <a:tblGrid>
                <a:gridCol w="896509"/>
                <a:gridCol w="2682891"/>
                <a:gridCol w="1064040"/>
                <a:gridCol w="1000132"/>
                <a:gridCol w="1000132"/>
                <a:gridCol w="1000132"/>
                <a:gridCol w="857256"/>
              </a:tblGrid>
              <a:tr h="49530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Раздел, подраздел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5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бъемы финансового обеспечения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13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код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именование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(фа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(оценка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21212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(проект)</a:t>
                      </a: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496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 и спорт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94,19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 24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6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,1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1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изическая культур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,0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,13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,88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,3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3,80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57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2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Массовый спорт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,5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2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8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953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 05</a:t>
                      </a:r>
                    </a:p>
                  </a:txBody>
                  <a:tcPr marL="68580" marR="68580" marT="0" marB="0" horzOverflow="overflow">
                    <a:lnL>
                      <a:noFill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Другие вопросы в области физической культуры и спорта</a:t>
                      </a:r>
                    </a:p>
                  </a:txBody>
                  <a:tcPr marL="68580" marR="68580" marT="0" marB="0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66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91</a:t>
                      </a:r>
                    </a:p>
                  </a:txBody>
                  <a:tcPr marL="68580" marR="68580" marT="0" marB="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214282" y="2643182"/>
            <a:ext cx="8715436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</p:spPr>
        <p:txBody>
          <a:bodyPr anchor="ctr">
            <a:flatTx/>
          </a:bodyPr>
          <a:lstStyle/>
          <a:p>
            <a:r>
              <a:rPr lang="ru-RU" sz="1800" b="1" dirty="0" smtClean="0">
                <a:solidFill>
                  <a:schemeClr val="accent1">
                    <a:lumMod val="50000"/>
                  </a:schemeClr>
                </a:solidFill>
                <a:cs typeface="Times New Roman" pitchFamily="18" charset="0"/>
              </a:rPr>
              <a:t>Структура расходов бюджета по физической культуре и спорту в 2019-2023 годах</a:t>
            </a:r>
            <a:endParaRPr lang="ru-RU" sz="180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4340" name="Rectangle 2"/>
          <p:cNvSpPr>
            <a:spLocks noChangeArrowheads="1"/>
          </p:cNvSpPr>
          <p:nvPr/>
        </p:nvSpPr>
        <p:spPr bwMode="auto">
          <a:xfrm>
            <a:off x="428625" y="1000108"/>
            <a:ext cx="8429625" cy="11430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indent="449263" algn="just"/>
            <a:r>
              <a:rPr lang="ru-RU" sz="1400" dirty="0">
                <a:solidFill>
                  <a:srgbClr val="FF0000"/>
                </a:solidFill>
              </a:rPr>
              <a:t> </a:t>
            </a:r>
            <a:r>
              <a:rPr lang="ru-RU" sz="1400" dirty="0" smtClean="0"/>
              <a:t>У</a:t>
            </a:r>
            <a:r>
              <a:rPr lang="ru-RU" sz="1600" dirty="0" smtClean="0"/>
              <a:t>меньшение  объема ассигнований на физическую культуру и спорт в 2021 году связано с запланированной и несостоявшейся в 2020 году реконструкцией стадиона «Спартак» в г. Железноводске.</a:t>
            </a:r>
          </a:p>
        </p:txBody>
      </p:sp>
      <p:graphicFrame>
        <p:nvGraphicFramePr>
          <p:cNvPr id="14338" name="Object 12"/>
          <p:cNvGraphicFramePr>
            <a:graphicFrameLocks noGrp="1" noChangeAspect="1"/>
          </p:cNvGraphicFramePr>
          <p:nvPr/>
        </p:nvGraphicFramePr>
        <p:xfrm>
          <a:off x="428596" y="2268538"/>
          <a:ext cx="8466138" cy="4589462"/>
        </p:xfrm>
        <a:graphic>
          <a:graphicData uri="http://schemas.openxmlformats.org/presentationml/2006/ole">
            <p:oleObj spid="_x0000_s14338" name="Worksheet" r:id="rId4" imgW="8820090" imgH="4162515" progId="Excel.Sheet.8">
              <p:embed/>
            </p:oleObj>
          </a:graphicData>
        </a:graphic>
      </p:graphicFrame>
      <p:sp>
        <p:nvSpPr>
          <p:cNvPr id="14341" name="Text Box 7"/>
          <p:cNvSpPr txBox="1">
            <a:spLocks noChangeArrowheads="1"/>
          </p:cNvSpPr>
          <p:nvPr/>
        </p:nvSpPr>
        <p:spPr bwMode="auto">
          <a:xfrm>
            <a:off x="6572264" y="2857496"/>
            <a:ext cx="129381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>
              <a:spcBef>
                <a:spcPct val="50000"/>
              </a:spcBef>
            </a:pPr>
            <a:r>
              <a:rPr lang="ru-RU" sz="1800" b="1" i="1" dirty="0"/>
              <a:t>млн. рублей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857356" y="285728"/>
            <a:ext cx="6357982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>
                <a:solidFill>
                  <a:schemeClr val="bg1"/>
                </a:solidFill>
              </a:rPr>
              <a:t>Раздел «Физическая культура и спорт»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5364" name="Text Box 7"/>
          <p:cNvSpPr txBox="1">
            <a:spLocks noChangeArrowheads="1"/>
          </p:cNvSpPr>
          <p:nvPr/>
        </p:nvSpPr>
        <p:spPr bwMode="auto">
          <a:xfrm>
            <a:off x="7429520" y="1357298"/>
            <a:ext cx="1293813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ru-RU" sz="1600" b="1" i="1" dirty="0" smtClean="0"/>
              <a:t>тыс.рублей</a:t>
            </a:r>
            <a:endParaRPr lang="ru-RU" sz="1600" b="1" i="1" dirty="0"/>
          </a:p>
        </p:txBody>
      </p:sp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643042" y="214290"/>
            <a:ext cx="692948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Расходы на Физическую культуру в расчете на 1 жител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rgbClr val="FFFFFF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graphicFrame>
        <p:nvGraphicFramePr>
          <p:cNvPr id="15363" name="Object 3"/>
          <p:cNvGraphicFramePr>
            <a:graphicFrameLocks noGrp="1" noChangeAspect="1"/>
          </p:cNvGraphicFramePr>
          <p:nvPr/>
        </p:nvGraphicFramePr>
        <p:xfrm>
          <a:off x="747713" y="2074863"/>
          <a:ext cx="7797800" cy="2698750"/>
        </p:xfrm>
        <a:graphic>
          <a:graphicData uri="http://schemas.openxmlformats.org/presentationml/2006/ole">
            <p:oleObj spid="_x0000_s15363" name="Worksheet" r:id="rId4" imgW="7972433" imgH="2762370" progId="Excel.Sheet.8">
              <p:embed/>
            </p:oleObj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0" name="Диаграмма 29"/>
          <p:cNvGraphicFramePr/>
          <p:nvPr>
            <p:extLst>
              <p:ext uri="{D42A27DB-BD31-4B8C-83A1-F6EECF244321}">
                <p14:modId xmlns:p14="http://schemas.microsoft.com/office/powerpoint/2010/main" xmlns="" val="3383263371"/>
              </p:ext>
            </p:extLst>
          </p:nvPr>
        </p:nvGraphicFramePr>
        <p:xfrm>
          <a:off x="-357222" y="1928802"/>
          <a:ext cx="4143403" cy="45005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31" name="Таблица 3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707632720"/>
              </p:ext>
            </p:extLst>
          </p:nvPr>
        </p:nvGraphicFramePr>
        <p:xfrm>
          <a:off x="3286117" y="2500306"/>
          <a:ext cx="5214974" cy="1643074"/>
        </p:xfrm>
        <a:graphic>
          <a:graphicData uri="http://schemas.openxmlformats.org/drawingml/2006/table">
            <a:tbl>
              <a:tblPr>
                <a:effectLst/>
                <a:tableStyleId>{F5AB1C69-6EDB-4FF4-983F-18BD219EF322}</a:tableStyleId>
              </a:tblPr>
              <a:tblGrid>
                <a:gridCol w="1732887"/>
                <a:gridCol w="904372"/>
                <a:gridCol w="861487"/>
                <a:gridCol w="884708"/>
                <a:gridCol w="831520"/>
              </a:tblGrid>
              <a:tr h="444463">
                <a:tc>
                  <a:txBody>
                    <a:bodyPr/>
                    <a:lstStyle/>
                    <a:p>
                      <a:pPr algn="l" fontAlgn="t">
                        <a:lnSpc>
                          <a:spcPct val="100000"/>
                        </a:lnSpc>
                      </a:pP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54000" marR="2993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0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1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tx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022 год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dirty="0" smtClean="0">
                          <a:solidFill>
                            <a:schemeClr val="tx1"/>
                          </a:solidFill>
                        </a:rPr>
                        <a:t>2023 год</a:t>
                      </a:r>
                      <a:endParaRPr lang="ru-RU" sz="1400" b="1" dirty="0">
                        <a:solidFill>
                          <a:schemeClr val="tx1"/>
                        </a:solidFill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</a:tr>
              <a:tr h="1198611">
                <a:tc>
                  <a:txBody>
                    <a:bodyPr/>
                    <a:lstStyle/>
                    <a:p>
                      <a:pPr algn="l" fontAlgn="t">
                        <a:lnSpc>
                          <a:spcPts val="1300"/>
                        </a:lnSpc>
                      </a:pPr>
                      <a:r>
                        <a:rPr lang="ru-RU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Среднемесячный </a:t>
                      </a:r>
                      <a:r>
                        <a:rPr lang="en-US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доход  от</a:t>
                      </a:r>
                      <a:r>
                        <a:rPr lang="en-US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400" b="0" kern="1200" spc="-20" baseline="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 трудовой деятельности (руб.)</a:t>
                      </a:r>
                      <a:endParaRPr lang="ru-RU" sz="1400" b="0" kern="1200" spc="-20" baseline="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36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5 697,0</a:t>
                      </a: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6 250,6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7 037,4</a:t>
                      </a:r>
                      <a:endParaRPr lang="ru-RU" sz="1400" b="1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imes New Roman" pitchFamily="18" charset="0"/>
                      </a:endParaRPr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r>
                        <a:rPr lang="ru-RU" sz="1400" b="1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imes New Roman" pitchFamily="18" charset="0"/>
                        </a:rPr>
                        <a:t>27 848,5</a:t>
                      </a:r>
                      <a:endParaRPr lang="ru-RU" sz="1400" b="1" dirty="0"/>
                    </a:p>
                  </a:txBody>
                  <a:tcPr marL="0" marR="0" marT="3600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</a:tr>
            </a:tbl>
          </a:graphicData>
        </a:graphic>
      </p:graphicFrame>
      <p:sp>
        <p:nvSpPr>
          <p:cNvPr id="32" name="Прямоугольник 31"/>
          <p:cNvSpPr/>
          <p:nvPr/>
        </p:nvSpPr>
        <p:spPr>
          <a:xfrm>
            <a:off x="1000100" y="3571876"/>
            <a:ext cx="1181293" cy="37967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ts val="1300"/>
              </a:lnSpc>
            </a:pPr>
            <a:endParaRPr lang="ru-RU" sz="1600" b="1" dirty="0">
              <a:solidFill>
                <a:schemeClr val="bg1"/>
              </a:solidFill>
            </a:endParaRPr>
          </a:p>
        </p:txBody>
      </p:sp>
      <p:grpSp>
        <p:nvGrpSpPr>
          <p:cNvPr id="33" name="Группа 23"/>
          <p:cNvGrpSpPr/>
          <p:nvPr/>
        </p:nvGrpSpPr>
        <p:grpSpPr>
          <a:xfrm>
            <a:off x="2643174" y="2000239"/>
            <a:ext cx="5893223" cy="2143140"/>
            <a:chOff x="3429025" y="998225"/>
            <a:chExt cx="5607471" cy="1854710"/>
          </a:xfrm>
        </p:grpSpPr>
        <p:sp>
          <p:nvSpPr>
            <p:cNvPr id="34" name="Скругленный прямоугольник 33"/>
            <p:cNvSpPr/>
            <p:nvPr>
              <p:custDataLst>
                <p:tags r:id="rId3"/>
              </p:custDataLst>
            </p:nvPr>
          </p:nvSpPr>
          <p:spPr>
            <a:xfrm>
              <a:off x="4000529" y="1343430"/>
              <a:ext cx="5035967" cy="1509505"/>
            </a:xfrm>
            <a:prstGeom prst="roundRect">
              <a:avLst>
                <a:gd name="adj" fmla="val 7127"/>
              </a:avLst>
            </a:prstGeom>
            <a:noFill/>
            <a:ln>
              <a:solidFill>
                <a:schemeClr val="bg1">
                  <a:lumMod val="75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35" name="Прямоугольник 34"/>
            <p:cNvSpPr/>
            <p:nvPr/>
          </p:nvSpPr>
          <p:spPr>
            <a:xfrm>
              <a:off x="5808118" y="998225"/>
              <a:ext cx="2282017" cy="36270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600" b="1" dirty="0">
                  <a:solidFill>
                    <a:schemeClr val="tx1"/>
                  </a:solidFill>
                </a:rPr>
                <a:t>Целевые категории</a:t>
              </a:r>
            </a:p>
          </p:txBody>
        </p:sp>
        <p:cxnSp>
          <p:nvCxnSpPr>
            <p:cNvPr id="36" name="Прямая соединительная линия 35"/>
            <p:cNvCxnSpPr/>
            <p:nvPr/>
          </p:nvCxnSpPr>
          <p:spPr>
            <a:xfrm rot="10800000" flipV="1">
              <a:off x="3429025" y="1616462"/>
              <a:ext cx="642942" cy="123647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48" name="Группа 19"/>
          <p:cNvGrpSpPr/>
          <p:nvPr/>
        </p:nvGrpSpPr>
        <p:grpSpPr>
          <a:xfrm>
            <a:off x="2000232" y="4357694"/>
            <a:ext cx="6544748" cy="2085952"/>
            <a:chOff x="2812513" y="2351160"/>
            <a:chExt cx="6223983" cy="2085952"/>
          </a:xfrm>
        </p:grpSpPr>
        <p:grpSp>
          <p:nvGrpSpPr>
            <p:cNvPr id="49" name="Группа 6"/>
            <p:cNvGrpSpPr/>
            <p:nvPr/>
          </p:nvGrpSpPr>
          <p:grpSpPr>
            <a:xfrm>
              <a:off x="4355976" y="2961112"/>
              <a:ext cx="4680518" cy="1476000"/>
              <a:chOff x="5807967" y="2961112"/>
              <a:chExt cx="6240693" cy="1476000"/>
            </a:xfrm>
          </p:grpSpPr>
          <p:sp>
            <p:nvSpPr>
              <p:cNvPr id="51" name="Прямоугольник 20"/>
              <p:cNvSpPr/>
              <p:nvPr>
                <p:custDataLst>
                  <p:tags r:id="rId1"/>
                </p:custDataLst>
              </p:nvPr>
            </p:nvSpPr>
            <p:spPr>
              <a:xfrm>
                <a:off x="8595527" y="2961113"/>
                <a:ext cx="1628930" cy="432048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ru-RU" sz="1600" b="1" dirty="0">
                    <a:solidFill>
                      <a:schemeClr val="tx1"/>
                    </a:solidFill>
                  </a:rPr>
                  <a:t>МРОТ, руб.</a:t>
                </a:r>
              </a:p>
            </p:txBody>
          </p:sp>
          <p:sp>
            <p:nvSpPr>
              <p:cNvPr id="52" name="Скругленный прямоугольник 51"/>
              <p:cNvSpPr/>
              <p:nvPr>
                <p:custDataLst>
                  <p:tags r:id="rId2"/>
                </p:custDataLst>
              </p:nvPr>
            </p:nvSpPr>
            <p:spPr>
              <a:xfrm>
                <a:off x="5807967" y="2961112"/>
                <a:ext cx="6240693" cy="1476000"/>
              </a:xfrm>
              <a:prstGeom prst="roundRect">
                <a:avLst>
                  <a:gd name="adj" fmla="val 7127"/>
                </a:avLst>
              </a:prstGeom>
              <a:noFill/>
              <a:ln>
                <a:solidFill>
                  <a:schemeClr val="bg1">
                    <a:lumMod val="75000"/>
                  </a:schemeClr>
                </a:solidFill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RU"/>
              </a:p>
            </p:txBody>
          </p:sp>
          <p:graphicFrame>
            <p:nvGraphicFramePr>
              <p:cNvPr id="53" name="Диаграмма 52"/>
              <p:cNvGraphicFramePr/>
              <p:nvPr>
                <p:extLst>
                  <p:ext uri="{D42A27DB-BD31-4B8C-83A1-F6EECF244321}">
                    <p14:modId xmlns:p14="http://schemas.microsoft.com/office/powerpoint/2010/main" xmlns="" val="3396452534"/>
                  </p:ext>
                </p:extLst>
              </p:nvPr>
            </p:nvGraphicFramePr>
            <p:xfrm>
              <a:off x="6535420" y="3278878"/>
              <a:ext cx="5005064" cy="1135456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7"/>
              </a:graphicData>
            </a:graphic>
          </p:graphicFrame>
        </p:grpSp>
        <p:cxnSp>
          <p:nvCxnSpPr>
            <p:cNvPr id="50" name="Прямая соединительная линия 49"/>
            <p:cNvCxnSpPr/>
            <p:nvPr/>
          </p:nvCxnSpPr>
          <p:spPr>
            <a:xfrm rot="10800000">
              <a:off x="2812513" y="2351160"/>
              <a:ext cx="1543368" cy="1293864"/>
            </a:xfrm>
            <a:prstGeom prst="line">
              <a:avLst/>
            </a:prstGeom>
            <a:ln w="47625" cap="rnd">
              <a:solidFill>
                <a:schemeClr val="accent6">
                  <a:lumMod val="60000"/>
                  <a:lumOff val="40000"/>
                </a:schemeClr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54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61" name="Прямоугольник 60"/>
          <p:cNvSpPr/>
          <p:nvPr/>
        </p:nvSpPr>
        <p:spPr>
          <a:xfrm>
            <a:off x="285720" y="357166"/>
            <a:ext cx="8640960" cy="6832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Повышение оплаты труда работников  муниципальных учреждений</a:t>
            </a:r>
            <a:endParaRPr lang="ru-RU" alt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10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0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000"/>
                            </p:stCondLst>
                            <p:childTnLst>
                              <p:par>
                                <p:cTn id="12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4" dur="10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1">
            <a:alpha val="79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488396" y="1678622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488397" y="1780833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Уличное освещение</a:t>
            </a:r>
            <a:endParaRPr lang="ru-RU" sz="1500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599919" y="2444801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22,2</a:t>
            </a:r>
            <a:endParaRPr lang="ru-RU" b="1" dirty="0"/>
          </a:p>
        </p:txBody>
      </p:sp>
      <p:sp>
        <p:nvSpPr>
          <p:cNvPr id="8" name="Скругленный прямоугольник 7"/>
          <p:cNvSpPr/>
          <p:nvPr>
            <p:custDataLst>
              <p:tags r:id="rId4"/>
            </p:custDataLst>
          </p:nvPr>
        </p:nvSpPr>
        <p:spPr>
          <a:xfrm>
            <a:off x="6516216" y="1700808"/>
            <a:ext cx="2304256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6357950" y="1700808"/>
            <a:ext cx="2534530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и Комсомольской поляны</a:t>
            </a:r>
            <a:endParaRPr lang="ru-RU" sz="1500" b="1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6804248" y="2571744"/>
            <a:ext cx="1683378" cy="257388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,7</a:t>
            </a:r>
            <a:endParaRPr lang="ru-RU" b="1" dirty="0"/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323529" y="3501008"/>
            <a:ext cx="2016224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3544416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Нижней каскадной лестницы </a:t>
            </a:r>
            <a:endParaRPr lang="ru-RU" sz="1500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467544" y="4293096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3</a:t>
            </a:r>
            <a:endParaRPr lang="ru-RU" b="1" dirty="0"/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6562187" y="3524921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673710" y="4306423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5,3</a:t>
            </a:r>
            <a:endParaRPr lang="ru-RU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3491880" y="3808554"/>
            <a:ext cx="2088232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3275856" y="3861048"/>
            <a:ext cx="2592288" cy="7848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Прочие мероприятия по благоустройству </a:t>
            </a:r>
          </a:p>
          <a:p>
            <a:pPr lvl="0" algn="ctr">
              <a:lnSpc>
                <a:spcPts val="1800"/>
              </a:lnSpc>
            </a:pPr>
            <a:r>
              <a:rPr lang="ru-RU" sz="1500" b="1" dirty="0" smtClean="0"/>
              <a:t>территорий</a:t>
            </a:r>
            <a:endParaRPr lang="ru-RU" sz="1500" b="1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697853" y="4581128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12,6</a:t>
            </a:r>
            <a:endParaRPr lang="ru-RU" b="1" dirty="0"/>
          </a:p>
        </p:txBody>
      </p:sp>
      <p:grpSp>
        <p:nvGrpSpPr>
          <p:cNvPr id="2" name="Группа 8"/>
          <p:cNvGrpSpPr/>
          <p:nvPr/>
        </p:nvGrpSpPr>
        <p:grpSpPr>
          <a:xfrm>
            <a:off x="3538461" y="2283450"/>
            <a:ext cx="1897635" cy="1025447"/>
            <a:chOff x="3280593" y="1837348"/>
            <a:chExt cx="2577739" cy="1392963"/>
          </a:xfrm>
          <a:solidFill>
            <a:schemeClr val="accent5">
              <a:lumMod val="50000"/>
            </a:schemeClr>
          </a:solidFill>
        </p:grpSpPr>
        <p:sp>
          <p:nvSpPr>
            <p:cNvPr id="23" name="Скругленный прямоугольник 22"/>
            <p:cNvSpPr/>
            <p:nvPr>
              <p:custDataLst>
                <p:tags r:id="rId16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Скругленный прямоугольник 23"/>
            <p:cNvSpPr/>
            <p:nvPr>
              <p:custDataLst>
                <p:tags r:id="rId17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dirty="0" smtClean="0">
                  <a:ln>
                    <a:solidFill>
                      <a:schemeClr val="bg1"/>
                    </a:solidFill>
                  </a:ln>
                  <a:solidFill>
                    <a:schemeClr val="bg1"/>
                  </a:solidFill>
                  <a:ea typeface="Tahoma" pitchFamily="34" charset="0"/>
                  <a:cs typeface="Tahoma" pitchFamily="34" charset="0"/>
                </a:rPr>
                <a:t>152,8</a:t>
              </a:r>
              <a:endParaRPr lang="ru-RU" sz="2800" dirty="0">
                <a:ln>
                  <a:solidFill>
                    <a:schemeClr val="bg1"/>
                  </a:solidFill>
                </a:ln>
                <a:solidFill>
                  <a:schemeClr val="bg1"/>
                </a:solidFill>
                <a:ea typeface="Tahoma" pitchFamily="34" charset="0"/>
                <a:cs typeface="Tahoma" pitchFamily="34" charset="0"/>
              </a:endParaRPr>
            </a:p>
          </p:txBody>
        </p:sp>
      </p:grpSp>
      <p:cxnSp>
        <p:nvCxnSpPr>
          <p:cNvPr id="26" name="Прямая соединительная линия 25"/>
          <p:cNvCxnSpPr/>
          <p:nvPr/>
        </p:nvCxnSpPr>
        <p:spPr>
          <a:xfrm flipH="1">
            <a:off x="4499992" y="3429000"/>
            <a:ext cx="12475" cy="45156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Прямая соединительная линия 26"/>
          <p:cNvCxnSpPr/>
          <p:nvPr/>
        </p:nvCxnSpPr>
        <p:spPr>
          <a:xfrm>
            <a:off x="2483888" y="2264069"/>
            <a:ext cx="1080000" cy="1657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 flipV="1">
            <a:off x="2411760" y="3212977"/>
            <a:ext cx="1152128" cy="864095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5364088" y="2280644"/>
            <a:ext cx="1152128" cy="68236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/>
          <p:nvPr/>
        </p:nvCxnSpPr>
        <p:spPr>
          <a:xfrm flipH="1" flipV="1">
            <a:off x="5400208" y="3212976"/>
            <a:ext cx="1044000" cy="919529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Picture 23" descr="http://www.saratovmer.ru/files/data/images/NEWS/2018/3147746dd9635b3444e7565294fd95c6.jpg"/>
          <p:cNvPicPr>
            <a:picLocks noChangeAspect="1" noChangeArrowheads="1"/>
          </p:cNvPicPr>
          <p:nvPr/>
        </p:nvPicPr>
        <p:blipFill>
          <a:blip r:embed="rId2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83AEE1">
                <a:tint val="45000"/>
                <a:satMod val="400000"/>
              </a:srgbClr>
            </a:duotone>
          </a:blip>
          <a:srcRect/>
          <a:stretch>
            <a:fillRect/>
          </a:stretch>
        </p:blipFill>
        <p:spPr bwMode="auto">
          <a:xfrm>
            <a:off x="0" y="5445224"/>
            <a:ext cx="9144001" cy="1556792"/>
          </a:xfrm>
          <a:prstGeom prst="rect">
            <a:avLst/>
          </a:prstGeom>
          <a:noFill/>
        </p:spPr>
      </p:pic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7358082" y="928670"/>
            <a:ext cx="1318035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3" name="Скругленный прямоугольник 32"/>
          <p:cNvSpPr/>
          <p:nvPr>
            <p:custDataLst>
              <p:tags r:id="rId7"/>
            </p:custDataLst>
          </p:nvPr>
        </p:nvSpPr>
        <p:spPr>
          <a:xfrm>
            <a:off x="3491880" y="1124744"/>
            <a:ext cx="2039179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Скругленный прямоугольник 33"/>
          <p:cNvSpPr/>
          <p:nvPr>
            <p:custDataLst>
              <p:tags r:id="rId8"/>
            </p:custDataLst>
          </p:nvPr>
        </p:nvSpPr>
        <p:spPr>
          <a:xfrm>
            <a:off x="1691680" y="5013176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" name="Скругленный прямоугольник 34"/>
          <p:cNvSpPr/>
          <p:nvPr>
            <p:custDataLst>
              <p:tags r:id="rId9"/>
            </p:custDataLst>
          </p:nvPr>
        </p:nvSpPr>
        <p:spPr>
          <a:xfrm>
            <a:off x="5436096" y="5013176"/>
            <a:ext cx="1895163" cy="1276630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6" name="Скругленный прямоугольник 35"/>
          <p:cNvSpPr/>
          <p:nvPr>
            <p:custDataLst>
              <p:tags r:id="rId10"/>
            </p:custDataLst>
          </p:nvPr>
        </p:nvSpPr>
        <p:spPr>
          <a:xfrm>
            <a:off x="3707904" y="1700808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8,2</a:t>
            </a:r>
            <a:endParaRPr lang="ru-RU" b="1" dirty="0"/>
          </a:p>
        </p:txBody>
      </p:sp>
      <p:sp>
        <p:nvSpPr>
          <p:cNvPr id="37" name="Скругленный прямоугольник 36"/>
          <p:cNvSpPr/>
          <p:nvPr>
            <p:custDataLst>
              <p:tags r:id="rId11"/>
            </p:custDataLst>
          </p:nvPr>
        </p:nvSpPr>
        <p:spPr>
          <a:xfrm>
            <a:off x="1835696" y="5805264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44,4</a:t>
            </a:r>
            <a:endParaRPr lang="ru-RU" b="1" dirty="0"/>
          </a:p>
        </p:txBody>
      </p:sp>
      <p:sp>
        <p:nvSpPr>
          <p:cNvPr id="38" name="Скругленный прямоугольник 37"/>
          <p:cNvSpPr/>
          <p:nvPr>
            <p:custDataLst>
              <p:tags r:id="rId12"/>
            </p:custDataLst>
          </p:nvPr>
        </p:nvSpPr>
        <p:spPr>
          <a:xfrm>
            <a:off x="5508104" y="5805264"/>
            <a:ext cx="1683378" cy="408244"/>
          </a:xfrm>
          <a:prstGeom prst="roundRect">
            <a:avLst>
              <a:gd name="adj" fmla="val 50000"/>
            </a:avLst>
          </a:prstGeom>
          <a:solidFill>
            <a:schemeClr val="accent5">
              <a:lumMod val="5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/>
              <a:t>9,1</a:t>
            </a:r>
            <a:endParaRPr lang="ru-RU" b="1" dirty="0"/>
          </a:p>
        </p:txBody>
      </p:sp>
      <p:sp>
        <p:nvSpPr>
          <p:cNvPr id="39" name="Прямоугольник 38"/>
          <p:cNvSpPr/>
          <p:nvPr>
            <p:custDataLst>
              <p:tags r:id="rId13"/>
            </p:custDataLst>
          </p:nvPr>
        </p:nvSpPr>
        <p:spPr>
          <a:xfrm>
            <a:off x="3347864" y="1124743"/>
            <a:ext cx="230425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азвитие курортной инфраструктуры</a:t>
            </a:r>
            <a:endParaRPr lang="ru-RU" sz="1500" b="1" dirty="0"/>
          </a:p>
        </p:txBody>
      </p:sp>
      <p:sp>
        <p:nvSpPr>
          <p:cNvPr id="40" name="Прямоугольник 39"/>
          <p:cNvSpPr/>
          <p:nvPr>
            <p:custDataLst>
              <p:tags r:id="rId14"/>
            </p:custDataLst>
          </p:nvPr>
        </p:nvSpPr>
        <p:spPr>
          <a:xfrm>
            <a:off x="1619672" y="5157193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Благоустройство Школьного сквера</a:t>
            </a:r>
            <a:endParaRPr lang="ru-RU" sz="1500" b="1" dirty="0"/>
          </a:p>
        </p:txBody>
      </p:sp>
      <p:sp>
        <p:nvSpPr>
          <p:cNvPr id="41" name="Прямоугольник 40"/>
          <p:cNvSpPr/>
          <p:nvPr>
            <p:custDataLst>
              <p:tags r:id="rId15"/>
            </p:custDataLst>
          </p:nvPr>
        </p:nvSpPr>
        <p:spPr>
          <a:xfrm>
            <a:off x="5364088" y="5128592"/>
            <a:ext cx="199399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Содержание и озеленение города</a:t>
            </a:r>
            <a:endParaRPr lang="ru-RU" sz="1500" b="1" dirty="0"/>
          </a:p>
        </p:txBody>
      </p:sp>
      <p:cxnSp>
        <p:nvCxnSpPr>
          <p:cNvPr id="42" name="Прямая соединительная линия 41"/>
          <p:cNvCxnSpPr/>
          <p:nvPr/>
        </p:nvCxnSpPr>
        <p:spPr>
          <a:xfrm flipV="1">
            <a:off x="3059832" y="3284984"/>
            <a:ext cx="648072" cy="157579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Прямая соединительная линия 44"/>
          <p:cNvCxnSpPr/>
          <p:nvPr/>
        </p:nvCxnSpPr>
        <p:spPr>
          <a:xfrm flipH="1" flipV="1">
            <a:off x="5220072" y="3356992"/>
            <a:ext cx="1008112" cy="151216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251520" y="332656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latin typeface="Arial" charset="0"/>
              </a:rPr>
              <a:t>Благоустройство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chemeClr val="bg1"/>
                </a:solidFill>
                <a:latin typeface="Arial" charset="0"/>
              </a:rPr>
              <a:t>города-курорта Железноводска на 2021 год</a:t>
            </a:r>
            <a:endParaRPr lang="ru-RU" altLang="ru-RU" sz="2000" b="1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516216" y="3573016"/>
            <a:ext cx="2016224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500" b="1" dirty="0" smtClean="0"/>
              <a:t>Ручная уборка города</a:t>
            </a:r>
            <a:endParaRPr lang="ru-RU" sz="1500" b="1" dirty="0"/>
          </a:p>
        </p:txBody>
      </p:sp>
    </p:spTree>
    <p:extLst>
      <p:ext uri="{BB962C8B-B14F-4D97-AF65-F5344CB8AC3E}">
        <p14:creationId xmlns:p14="http://schemas.microsoft.com/office/powerpoint/2010/main" xmlns="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" name="AutoShape 2"/>
          <p:cNvSpPr>
            <a:spLocks noChangeArrowheads="1"/>
          </p:cNvSpPr>
          <p:nvPr/>
        </p:nvSpPr>
        <p:spPr bwMode="auto">
          <a:xfrm>
            <a:off x="1071538" y="142852"/>
            <a:ext cx="6643734" cy="64770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sz="2400" b="1" dirty="0">
                <a:ln w="18415" cmpd="sng">
                  <a:solidFill>
                    <a:srgbClr val="FFFFFF"/>
                  </a:solidFill>
                  <a:prstDash val="solid"/>
                </a:ln>
                <a:solidFill>
                  <a:srgbClr val="FFFFFF"/>
                </a:solidFill>
                <a:effectLst>
                  <a:outerShdw blurRad="63500" dir="3600000" algn="tl" rotWithShape="0">
                    <a:srgbClr val="000000">
                      <a:alpha val="70000"/>
                    </a:srgbClr>
                  </a:outerShdw>
                </a:effectLst>
              </a:rPr>
              <a:t>Гражданин в бюджетном процессе</a:t>
            </a:r>
          </a:p>
        </p:txBody>
      </p:sp>
      <p:sp>
        <p:nvSpPr>
          <p:cNvPr id="15" name="Стрелка вниз 14"/>
          <p:cNvSpPr/>
          <p:nvPr/>
        </p:nvSpPr>
        <p:spPr>
          <a:xfrm>
            <a:off x="1714501" y="785813"/>
            <a:ext cx="642922" cy="357171"/>
          </a:xfrm>
          <a:prstGeom prst="downArrow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6" name="Стрелка вниз 15"/>
          <p:cNvSpPr/>
          <p:nvPr/>
        </p:nvSpPr>
        <p:spPr>
          <a:xfrm>
            <a:off x="6286512" y="785813"/>
            <a:ext cx="578630" cy="396857"/>
          </a:xfrm>
          <a:prstGeom prst="downArrow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ru-RU" dirty="0"/>
          </a:p>
        </p:txBody>
      </p:sp>
      <p:sp>
        <p:nvSpPr>
          <p:cNvPr id="17" name="Выноска со стрелкой вниз 16"/>
          <p:cNvSpPr/>
          <p:nvPr/>
        </p:nvSpPr>
        <p:spPr>
          <a:xfrm>
            <a:off x="428596" y="1142984"/>
            <a:ext cx="3143244" cy="1000118"/>
          </a:xfrm>
          <a:prstGeom prst="downArrowCallout">
            <a:avLst/>
          </a:prstGeom>
          <a:solidFill>
            <a:srgbClr val="B2FC9E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Налогоплательщик</a:t>
            </a:r>
          </a:p>
        </p:txBody>
      </p:sp>
      <p:sp>
        <p:nvSpPr>
          <p:cNvPr id="9" name="Скругленный прямоугольник 8"/>
          <p:cNvSpPr/>
          <p:nvPr/>
        </p:nvSpPr>
        <p:spPr>
          <a:xfrm>
            <a:off x="642938" y="2143116"/>
            <a:ext cx="2714625" cy="857250"/>
          </a:xfrm>
          <a:prstGeom prst="roundRect">
            <a:avLst/>
          </a:prstGeom>
          <a:solidFill>
            <a:srgbClr val="B2FC9E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Участвует в </a:t>
            </a:r>
            <a:r>
              <a:rPr lang="ru-RU" sz="1800" b="1" dirty="0"/>
              <a:t>ДОХОДНОЙ </a:t>
            </a:r>
            <a:r>
              <a:rPr lang="ru-RU" sz="1800" dirty="0"/>
              <a:t>части бюджета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3786188" y="2214554"/>
            <a:ext cx="5143500" cy="785818"/>
          </a:xfrm>
          <a:prstGeom prst="roundRect">
            <a:avLst/>
          </a:prstGeom>
          <a:solidFill>
            <a:srgbClr val="FFFF99"/>
          </a:solidFill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1800" dirty="0"/>
              <a:t>Получает </a:t>
            </a:r>
            <a:r>
              <a:rPr lang="ru-RU" sz="1800" dirty="0" smtClean="0"/>
              <a:t>социальные гарантии </a:t>
            </a:r>
            <a:r>
              <a:rPr lang="ru-RU" sz="1800" dirty="0"/>
              <a:t>– </a:t>
            </a:r>
            <a:r>
              <a:rPr lang="ru-RU" sz="1800" b="1" dirty="0">
                <a:solidFill>
                  <a:schemeClr val="tx1"/>
                </a:solidFill>
              </a:rPr>
              <a:t>РАСХОДНАЯ</a:t>
            </a:r>
            <a:r>
              <a:rPr lang="ru-RU" sz="1800" dirty="0">
                <a:solidFill>
                  <a:schemeClr val="tx1"/>
                </a:solidFill>
              </a:rPr>
              <a:t> часть бюджета</a:t>
            </a:r>
            <a:endParaRPr lang="ru-RU" sz="1800" b="1" dirty="0"/>
          </a:p>
        </p:txBody>
      </p:sp>
      <p:sp>
        <p:nvSpPr>
          <p:cNvPr id="18" name="Выноска со стрелкой вниз 17"/>
          <p:cNvSpPr/>
          <p:nvPr/>
        </p:nvSpPr>
        <p:spPr>
          <a:xfrm>
            <a:off x="4572000" y="1214422"/>
            <a:ext cx="4071966" cy="1000118"/>
          </a:xfrm>
          <a:prstGeom prst="downArrowCallout">
            <a:avLst/>
          </a:prstGeom>
          <a:solidFill>
            <a:srgbClr val="FFFF9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400" b="1" dirty="0">
                <a:solidFill>
                  <a:schemeClr val="tx1"/>
                </a:solidFill>
              </a:rPr>
              <a:t>Получатель социальных гарантий</a:t>
            </a:r>
          </a:p>
        </p:txBody>
      </p:sp>
      <p:pic>
        <p:nvPicPr>
          <p:cNvPr id="107522" name="Picture 2" descr="Как узнать транспортный налог через портал Госуслуг, плюсы и минусы оплаты налога на машину онлайн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14283" y="3500439"/>
            <a:ext cx="1571635" cy="973647"/>
          </a:xfrm>
          <a:prstGeom prst="rect">
            <a:avLst/>
          </a:prstGeom>
          <a:noFill/>
        </p:spPr>
      </p:pic>
      <p:pic>
        <p:nvPicPr>
          <p:cNvPr id="2" name="Picture 2" descr="строительство дачных домов и коттеджей — СК Домино — Санкт-Петербург, фото №1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14283" y="4572008"/>
            <a:ext cx="1571635" cy="1003492"/>
          </a:xfrm>
          <a:prstGeom prst="rect">
            <a:avLst/>
          </a:prstGeom>
          <a:noFill/>
        </p:spPr>
      </p:pic>
      <p:pic>
        <p:nvPicPr>
          <p:cNvPr id="3" name="Picture 2" descr="https://sevastopol.su/sites/default/files/styles/node/public/2017-11-11/2_1.jpg?itok=mXLHwr3s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14282" y="5643578"/>
            <a:ext cx="1571636" cy="1147294"/>
          </a:xfrm>
          <a:prstGeom prst="rect">
            <a:avLst/>
          </a:prstGeom>
          <a:noFill/>
        </p:spPr>
      </p:pic>
      <p:sp>
        <p:nvSpPr>
          <p:cNvPr id="20" name="AutoShape 2"/>
          <p:cNvSpPr>
            <a:spLocks noChangeArrowheads="1"/>
          </p:cNvSpPr>
          <p:nvPr/>
        </p:nvSpPr>
        <p:spPr bwMode="auto">
          <a:xfrm>
            <a:off x="1643042" y="3643314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налог </a:t>
            </a:r>
          </a:p>
          <a:p>
            <a:pPr algn="ctr">
              <a:defRPr/>
            </a:pPr>
            <a:r>
              <a:rPr lang="ru-RU" sz="1600" b="1" dirty="0" smtClean="0"/>
              <a:t>на доходы физических лиц</a:t>
            </a:r>
            <a:endParaRPr lang="ru-RU" sz="1600" b="1" dirty="0"/>
          </a:p>
        </p:txBody>
      </p:sp>
      <p:sp>
        <p:nvSpPr>
          <p:cNvPr id="21" name="AutoShape 2"/>
          <p:cNvSpPr>
            <a:spLocks noChangeArrowheads="1"/>
          </p:cNvSpPr>
          <p:nvPr/>
        </p:nvSpPr>
        <p:spPr bwMode="auto">
          <a:xfrm>
            <a:off x="1571604" y="4714884"/>
            <a:ext cx="1785950" cy="57150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налог на имущество физических </a:t>
            </a:r>
          </a:p>
          <a:p>
            <a:pPr algn="ctr">
              <a:defRPr/>
            </a:pPr>
            <a:r>
              <a:rPr lang="ru-RU" sz="1600" b="1" dirty="0" smtClean="0"/>
              <a:t>лиц</a:t>
            </a:r>
            <a:endParaRPr lang="ru-RU" sz="1600" b="1" dirty="0"/>
          </a:p>
        </p:txBody>
      </p:sp>
      <p:sp>
        <p:nvSpPr>
          <p:cNvPr id="22" name="AutoShape 2"/>
          <p:cNvSpPr>
            <a:spLocks noChangeArrowheads="1"/>
          </p:cNvSpPr>
          <p:nvPr/>
        </p:nvSpPr>
        <p:spPr bwMode="auto">
          <a:xfrm>
            <a:off x="1571604" y="600076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земельный налог</a:t>
            </a:r>
            <a:endParaRPr lang="ru-RU" sz="1600" b="1" dirty="0"/>
          </a:p>
        </p:txBody>
      </p:sp>
      <p:sp>
        <p:nvSpPr>
          <p:cNvPr id="24" name="AutoShape 2"/>
          <p:cNvSpPr>
            <a:spLocks noChangeArrowheads="1"/>
          </p:cNvSpPr>
          <p:nvPr/>
        </p:nvSpPr>
        <p:spPr bwMode="auto">
          <a:xfrm>
            <a:off x="5429256" y="3286124"/>
            <a:ext cx="1785950" cy="50006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образование</a:t>
            </a:r>
            <a:endParaRPr lang="ru-RU" sz="1600" b="1" dirty="0"/>
          </a:p>
        </p:txBody>
      </p:sp>
      <p:sp>
        <p:nvSpPr>
          <p:cNvPr id="25" name="AutoShape 2"/>
          <p:cNvSpPr>
            <a:spLocks noChangeArrowheads="1"/>
          </p:cNvSpPr>
          <p:nvPr/>
        </p:nvSpPr>
        <p:spPr bwMode="auto">
          <a:xfrm>
            <a:off x="5429256" y="350043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endParaRPr lang="ru-RU" sz="1600" b="1" dirty="0"/>
          </a:p>
        </p:txBody>
      </p:sp>
      <p:sp>
        <p:nvSpPr>
          <p:cNvPr id="26" name="AutoShape 2"/>
          <p:cNvSpPr>
            <a:spLocks noChangeArrowheads="1"/>
          </p:cNvSpPr>
          <p:nvPr/>
        </p:nvSpPr>
        <p:spPr bwMode="auto">
          <a:xfrm>
            <a:off x="5429256" y="4143380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услуги ЖКХ</a:t>
            </a:r>
            <a:endParaRPr lang="ru-RU" sz="1600" b="1" dirty="0"/>
          </a:p>
        </p:txBody>
      </p:sp>
      <p:sp>
        <p:nvSpPr>
          <p:cNvPr id="27" name="AutoShape 2"/>
          <p:cNvSpPr>
            <a:spLocks noChangeArrowheads="1"/>
          </p:cNvSpPr>
          <p:nvPr/>
        </p:nvSpPr>
        <p:spPr bwMode="auto">
          <a:xfrm>
            <a:off x="5429256" y="4643446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культура</a:t>
            </a:r>
            <a:endParaRPr lang="ru-RU" sz="1600" b="1" dirty="0"/>
          </a:p>
        </p:txBody>
      </p:sp>
      <p:sp>
        <p:nvSpPr>
          <p:cNvPr id="28" name="AutoShape 2"/>
          <p:cNvSpPr>
            <a:spLocks noChangeArrowheads="1"/>
          </p:cNvSpPr>
          <p:nvPr/>
        </p:nvSpPr>
        <p:spPr bwMode="auto">
          <a:xfrm>
            <a:off x="5500694" y="5214950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физкультура</a:t>
            </a:r>
            <a:endParaRPr lang="ru-RU" sz="1600" b="1" dirty="0"/>
          </a:p>
        </p:txBody>
      </p:sp>
      <p:sp>
        <p:nvSpPr>
          <p:cNvPr id="29" name="AutoShape 2"/>
          <p:cNvSpPr>
            <a:spLocks noChangeArrowheads="1"/>
          </p:cNvSpPr>
          <p:nvPr/>
        </p:nvSpPr>
        <p:spPr bwMode="auto">
          <a:xfrm>
            <a:off x="5429256" y="5643578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спорт</a:t>
            </a:r>
            <a:endParaRPr lang="ru-RU" sz="1600" b="1" dirty="0"/>
          </a:p>
        </p:txBody>
      </p:sp>
      <p:sp>
        <p:nvSpPr>
          <p:cNvPr id="30" name="AutoShape 2"/>
          <p:cNvSpPr>
            <a:spLocks noChangeArrowheads="1"/>
          </p:cNvSpPr>
          <p:nvPr/>
        </p:nvSpPr>
        <p:spPr bwMode="auto">
          <a:xfrm>
            <a:off x="5500694" y="6215082"/>
            <a:ext cx="1785950" cy="42862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600" b="1" dirty="0" smtClean="0"/>
              <a:t>социальные льготы</a:t>
            </a:r>
            <a:endParaRPr lang="ru-RU" sz="1600" b="1" dirty="0"/>
          </a:p>
        </p:txBody>
      </p:sp>
      <p:pic>
        <p:nvPicPr>
          <p:cNvPr id="107524" name="Picture 4" descr="https://img.kanal-o.ru/img/2017-11-20/fmt_81_24_shutterstock_462773665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428993" y="3049486"/>
            <a:ext cx="2071702" cy="1165332"/>
          </a:xfrm>
          <a:prstGeom prst="rect">
            <a:avLst/>
          </a:prstGeom>
          <a:noFill/>
        </p:spPr>
      </p:pic>
      <p:sp>
        <p:nvSpPr>
          <p:cNvPr id="5" name="AutoShape 2" descr="Правительство России одобрило двухэтапную индексацию тарифов ЖКХ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 dirty="0"/>
          </a:p>
        </p:txBody>
      </p:sp>
      <p:pic>
        <p:nvPicPr>
          <p:cNvPr id="6" name="Picture 4" descr="Правительство России одобрило двухэтапную индексацию тарифов ЖКХ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24552" y="4329143"/>
            <a:ext cx="1947524" cy="1171559"/>
          </a:xfrm>
          <a:prstGeom prst="rect">
            <a:avLst/>
          </a:prstGeom>
          <a:noFill/>
        </p:spPr>
      </p:pic>
      <p:pic>
        <p:nvPicPr>
          <p:cNvPr id="8" name="Picture 2" descr="День работника культуры России - 25 марта.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188550" y="3214686"/>
            <a:ext cx="1812606" cy="2214578"/>
          </a:xfrm>
          <a:prstGeom prst="rect">
            <a:avLst/>
          </a:prstGeom>
          <a:noFill/>
        </p:spPr>
      </p:pic>
      <p:pic>
        <p:nvPicPr>
          <p:cNvPr id="11" name="Picture 2" descr="http://sovch.chuvashia.com/wp-content/uploads/2018/01/6-8-1170x780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7216240" y="5527184"/>
            <a:ext cx="1784916" cy="1187964"/>
          </a:xfrm>
          <a:prstGeom prst="rect">
            <a:avLst/>
          </a:prstGeom>
          <a:noFill/>
        </p:spPr>
      </p:pic>
      <p:pic>
        <p:nvPicPr>
          <p:cNvPr id="12" name="Picture 2" descr="https://avatars.mds.yandex.net/get-zen_doc/168601/pub_5b2b6c8245c2c800a9602c1a_5b2b6caee5a60f00a8002e9d/scale_1200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3571868" y="5563774"/>
            <a:ext cx="1857388" cy="115932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3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" name="Скругленный прямоугольник 5"/>
          <p:cNvSpPr/>
          <p:nvPr>
            <p:custDataLst>
              <p:tags r:id="rId1"/>
            </p:custDataLst>
          </p:nvPr>
        </p:nvSpPr>
        <p:spPr>
          <a:xfrm>
            <a:off x="1142976" y="134076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19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7" name="Скругленный прямоугольник 6"/>
          <p:cNvSpPr/>
          <p:nvPr>
            <p:custDataLst>
              <p:tags r:id="rId2"/>
            </p:custDataLst>
          </p:nvPr>
        </p:nvSpPr>
        <p:spPr>
          <a:xfrm>
            <a:off x="785786" y="1844824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30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600" b="1" dirty="0" smtClean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8" name="Прямая соединительная линия 7"/>
          <p:cNvCxnSpPr/>
          <p:nvPr>
            <p:custDataLst>
              <p:tags r:id="rId3"/>
            </p:custDataLst>
          </p:nvPr>
        </p:nvCxnSpPr>
        <p:spPr>
          <a:xfrm>
            <a:off x="1907704" y="2276872"/>
            <a:ext cx="0" cy="144016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Скругленный прямоугольник 8"/>
          <p:cNvSpPr/>
          <p:nvPr>
            <p:custDataLst>
              <p:tags r:id="rId4"/>
            </p:custDataLst>
          </p:nvPr>
        </p:nvSpPr>
        <p:spPr>
          <a:xfrm>
            <a:off x="1142976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0,0</a:t>
            </a:r>
          </a:p>
        </p:txBody>
      </p:sp>
      <p:sp>
        <p:nvSpPr>
          <p:cNvPr id="10" name="Скругленный прямоугольник 9"/>
          <p:cNvSpPr/>
          <p:nvPr>
            <p:custDataLst>
              <p:tags r:id="rId5"/>
            </p:custDataLst>
          </p:nvPr>
        </p:nvSpPr>
        <p:spPr>
          <a:xfrm>
            <a:off x="467545" y="3861048"/>
            <a:ext cx="961184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1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1" name="Скругленный прямоугольник 10"/>
          <p:cNvSpPr/>
          <p:nvPr>
            <p:custDataLst>
              <p:tags r:id="rId6"/>
            </p:custDataLst>
          </p:nvPr>
        </p:nvSpPr>
        <p:spPr>
          <a:xfrm>
            <a:off x="2071670" y="3861048"/>
            <a:ext cx="1071571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19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2" name="Скругленный прямоугольник 11"/>
          <p:cNvSpPr/>
          <p:nvPr>
            <p:custDataLst>
              <p:tags r:id="rId7"/>
            </p:custDataLst>
          </p:nvPr>
        </p:nvSpPr>
        <p:spPr>
          <a:xfrm>
            <a:off x="6775178" y="1346783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13" name="Скругленный прямоугольник 12"/>
          <p:cNvSpPr/>
          <p:nvPr>
            <p:custDataLst>
              <p:tags r:id="rId8"/>
            </p:custDataLst>
          </p:nvPr>
        </p:nvSpPr>
        <p:spPr>
          <a:xfrm>
            <a:off x="6340850" y="1850839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многодетных</a:t>
            </a:r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ьи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15" name="Прямая соединительная линия 14"/>
          <p:cNvCxnSpPr/>
          <p:nvPr>
            <p:custDataLst>
              <p:tags r:id="rId9"/>
            </p:custDataLst>
          </p:nvPr>
        </p:nvCxnSpPr>
        <p:spPr>
          <a:xfrm>
            <a:off x="7500958" y="2274341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4"/>
          <p:cNvPicPr>
            <a:picLocks noChangeAspect="1" noChangeArrowheads="1"/>
          </p:cNvPicPr>
          <p:nvPr>
            <p:custDataLst>
              <p:tags r:id="rId10"/>
            </p:custDataLst>
          </p:nvPr>
        </p:nvPicPr>
        <p:blipFill>
          <a:blip r:embed="rId3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929190" y="5000636"/>
            <a:ext cx="1446175" cy="1438944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539552" y="2996952"/>
            <a:ext cx="1524000" cy="806921"/>
          </a:xfrm>
          <a:prstGeom prst="rect">
            <a:avLst/>
          </a:prstGeom>
          <a:noFill/>
        </p:spPr>
      </p:pic>
      <p:pic>
        <p:nvPicPr>
          <p:cNvPr id="18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2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1928794" y="2996952"/>
            <a:ext cx="1524000" cy="806921"/>
          </a:xfrm>
          <a:prstGeom prst="rect">
            <a:avLst/>
          </a:prstGeom>
          <a:noFill/>
        </p:spPr>
      </p:pic>
      <p:pic>
        <p:nvPicPr>
          <p:cNvPr id="19" name="Picture 12" descr="https://static.tildacdn.com/tild3761-3931-4332-b130-373233326264/mzlafnqvhfl.png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37" cstate="print">
            <a:clrChange>
              <a:clrFrom>
                <a:srgbClr val="FEFDFA"/>
              </a:clrFrom>
              <a:clrTo>
                <a:srgbClr val="FEFDFA">
                  <a:alpha val="0"/>
                </a:srgbClr>
              </a:clrTo>
            </a:clrChange>
            <a:duotone>
              <a:schemeClr val="accent5">
                <a:shade val="45000"/>
                <a:satMod val="135000"/>
              </a:schemeClr>
              <a:prstClr val="white"/>
            </a:duotone>
            <a:lum/>
          </a:blip>
          <a:srcRect/>
          <a:stretch>
            <a:fillRect/>
          </a:stretch>
        </p:blipFill>
        <p:spPr bwMode="auto">
          <a:xfrm>
            <a:off x="7415808" y="5129808"/>
            <a:ext cx="1728192" cy="1728192"/>
          </a:xfrm>
          <a:prstGeom prst="rect">
            <a:avLst/>
          </a:prstGeom>
          <a:noFill/>
        </p:spPr>
      </p:pic>
      <p:grpSp>
        <p:nvGrpSpPr>
          <p:cNvPr id="2" name="Группа 46"/>
          <p:cNvGrpSpPr/>
          <p:nvPr>
            <p:custDataLst>
              <p:tags r:id="rId14"/>
            </p:custDataLst>
          </p:nvPr>
        </p:nvGrpSpPr>
        <p:grpSpPr>
          <a:xfrm>
            <a:off x="179512" y="5013176"/>
            <a:ext cx="2386176" cy="467436"/>
            <a:chOff x="537999" y="5954425"/>
            <a:chExt cx="2386176" cy="467436"/>
          </a:xfrm>
        </p:grpSpPr>
        <p:sp>
          <p:nvSpPr>
            <p:cNvPr id="22" name="Овал 21"/>
            <p:cNvSpPr/>
            <p:nvPr>
              <p:custDataLst>
                <p:tags r:id="rId31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FFFF99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3" name="TextBox 22"/>
            <p:cNvSpPr txBox="1"/>
            <p:nvPr>
              <p:custDataLst>
                <p:tags r:id="rId32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собственные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расходы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grpSp>
        <p:nvGrpSpPr>
          <p:cNvPr id="3" name="Группа 52"/>
          <p:cNvGrpSpPr/>
          <p:nvPr>
            <p:custDataLst>
              <p:tags r:id="rId15"/>
            </p:custDataLst>
          </p:nvPr>
        </p:nvGrpSpPr>
        <p:grpSpPr>
          <a:xfrm>
            <a:off x="2267744" y="5013176"/>
            <a:ext cx="2386176" cy="467436"/>
            <a:chOff x="537999" y="5954425"/>
            <a:chExt cx="2386176" cy="467436"/>
          </a:xfrm>
        </p:grpSpPr>
        <p:sp>
          <p:nvSpPr>
            <p:cNvPr id="25" name="Овал 24"/>
            <p:cNvSpPr/>
            <p:nvPr>
              <p:custDataLst>
                <p:tags r:id="rId29"/>
              </p:custDataLst>
            </p:nvPr>
          </p:nvSpPr>
          <p:spPr>
            <a:xfrm>
              <a:off x="537999" y="5989814"/>
              <a:ext cx="320425" cy="321284"/>
            </a:xfrm>
            <a:prstGeom prst="ellipse">
              <a:avLst/>
            </a:prstGeom>
            <a:solidFill>
              <a:srgbClr val="92D050"/>
            </a:solidFill>
            <a:ln>
              <a:noFill/>
            </a:ln>
            <a:effectLst>
              <a:outerShdw blurRad="50800" dist="38100" dir="18900000" algn="b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ru-RU"/>
            </a:p>
          </p:txBody>
        </p:sp>
        <p:sp>
          <p:nvSpPr>
            <p:cNvPr id="26" name="TextBox 25"/>
            <p:cNvSpPr txBox="1"/>
            <p:nvPr>
              <p:custDataLst>
                <p:tags r:id="rId30"/>
              </p:custDataLst>
            </p:nvPr>
          </p:nvSpPr>
          <p:spPr>
            <a:xfrm>
              <a:off x="875118" y="5954425"/>
              <a:ext cx="2049057" cy="46743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краевой </a:t>
              </a:r>
            </a:p>
            <a:p>
              <a:pPr>
                <a:lnSpc>
                  <a:spcPts val="1400"/>
                </a:lnSpc>
                <a:defRPr/>
              </a:pPr>
              <a:r>
                <a:rPr lang="ru-RU" b="1" dirty="0" smtClean="0">
                  <a:solidFill>
                    <a:schemeClr val="tx1">
                      <a:lumMod val="75000"/>
                      <a:lumOff val="25000"/>
                    </a:schemeClr>
                  </a:solidFill>
                </a:rPr>
                <a:t> бюджет</a:t>
              </a:r>
              <a:endParaRPr lang="ru-RU" b="1" dirty="0">
                <a:solidFill>
                  <a:schemeClr val="tx1">
                    <a:lumMod val="75000"/>
                    <a:lumOff val="25000"/>
                  </a:schemeClr>
                </a:solidFill>
              </a:endParaRPr>
            </a:p>
          </p:txBody>
        </p:sp>
      </p:grpSp>
      <p:sp>
        <p:nvSpPr>
          <p:cNvPr id="28" name="Скругленный прямоугольник 27"/>
          <p:cNvSpPr/>
          <p:nvPr>
            <p:custDataLst>
              <p:tags r:id="rId16"/>
            </p:custDataLst>
          </p:nvPr>
        </p:nvSpPr>
        <p:spPr>
          <a:xfrm>
            <a:off x="6715140" y="2492896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4,7</a:t>
            </a:r>
          </a:p>
        </p:txBody>
      </p:sp>
      <p:sp>
        <p:nvSpPr>
          <p:cNvPr id="29" name="Скругленный прямоугольник 28"/>
          <p:cNvSpPr/>
          <p:nvPr>
            <p:custDataLst>
              <p:tags r:id="rId17"/>
            </p:custDataLst>
          </p:nvPr>
        </p:nvSpPr>
        <p:spPr>
          <a:xfrm>
            <a:off x="6228184" y="3861048"/>
            <a:ext cx="987022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0,5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30" name="Скругленный прямоугольник 29"/>
          <p:cNvSpPr/>
          <p:nvPr>
            <p:custDataLst>
              <p:tags r:id="rId18"/>
            </p:custDataLst>
          </p:nvPr>
        </p:nvSpPr>
        <p:spPr>
          <a:xfrm>
            <a:off x="7786710" y="3861048"/>
            <a:ext cx="1071570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4,2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3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19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6048396" y="2924944"/>
            <a:ext cx="1524000" cy="806921"/>
          </a:xfrm>
          <a:prstGeom prst="rect">
            <a:avLst/>
          </a:prstGeom>
          <a:noFill/>
        </p:spPr>
      </p:pic>
      <p:pic>
        <p:nvPicPr>
          <p:cNvPr id="32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0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7477156" y="2924944"/>
            <a:ext cx="1524000" cy="806921"/>
          </a:xfrm>
          <a:prstGeom prst="rect">
            <a:avLst/>
          </a:prstGeom>
          <a:noFill/>
        </p:spPr>
      </p:pic>
      <p:sp>
        <p:nvSpPr>
          <p:cNvPr id="39" name="Text Box 5"/>
          <p:cNvSpPr txBox="1">
            <a:spLocks noChangeArrowheads="1"/>
          </p:cNvSpPr>
          <p:nvPr/>
        </p:nvSpPr>
        <p:spPr bwMode="auto">
          <a:xfrm>
            <a:off x="7596336" y="92867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43" name="AutoShape 2"/>
          <p:cNvSpPr>
            <a:spLocks noChangeArrowheads="1"/>
          </p:cNvSpPr>
          <p:nvPr/>
        </p:nvSpPr>
        <p:spPr bwMode="auto">
          <a:xfrm>
            <a:off x="1285852" y="142852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lvl="0" algn="ctr"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еспечение жильем молодых семей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/>
            </a:r>
            <a:b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</a:b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 города-курорта Железноводска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sp>
        <p:nvSpPr>
          <p:cNvPr id="41" name="Скругленный прямоугольник 40"/>
          <p:cNvSpPr/>
          <p:nvPr>
            <p:custDataLst>
              <p:tags r:id="rId21"/>
            </p:custDataLst>
          </p:nvPr>
        </p:nvSpPr>
        <p:spPr>
          <a:xfrm>
            <a:off x="3989096" y="1357298"/>
            <a:ext cx="1440160" cy="417313"/>
          </a:xfrm>
          <a:prstGeom prst="roundRect">
            <a:avLst>
              <a:gd name="adj" fmla="val 50000"/>
            </a:avLst>
          </a:prstGeom>
          <a:solidFill>
            <a:schemeClr val="bg1">
              <a:lumMod val="65000"/>
            </a:schemeClr>
          </a:solidFill>
          <a:ln>
            <a:noFill/>
          </a:ln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2020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год</a:t>
            </a:r>
          </a:p>
        </p:txBody>
      </p:sp>
      <p:sp>
        <p:nvSpPr>
          <p:cNvPr id="42" name="Скругленный прямоугольник 41"/>
          <p:cNvSpPr/>
          <p:nvPr>
            <p:custDataLst>
              <p:tags r:id="rId22"/>
            </p:custDataLst>
          </p:nvPr>
        </p:nvSpPr>
        <p:spPr>
          <a:xfrm>
            <a:off x="3554768" y="1861354"/>
            <a:ext cx="2160240" cy="360000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8 </a:t>
            </a:r>
            <a:r>
              <a:rPr lang="ru-RU" sz="12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семей</a:t>
            </a:r>
            <a:endParaRPr lang="ru-RU" sz="12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cxnSp>
        <p:nvCxnSpPr>
          <p:cNvPr id="45" name="Прямая соединительная линия 44"/>
          <p:cNvCxnSpPr/>
          <p:nvPr>
            <p:custDataLst>
              <p:tags r:id="rId23"/>
            </p:custDataLst>
          </p:nvPr>
        </p:nvCxnSpPr>
        <p:spPr>
          <a:xfrm>
            <a:off x="4786314" y="2284856"/>
            <a:ext cx="0" cy="152562"/>
          </a:xfrm>
          <a:prstGeom prst="line">
            <a:avLst/>
          </a:prstGeom>
          <a:ln w="57150" cap="rnd">
            <a:solidFill>
              <a:schemeClr val="bg1">
                <a:lumMod val="50000"/>
                <a:alpha val="6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Скругленный прямоугольник 46"/>
          <p:cNvSpPr/>
          <p:nvPr>
            <p:custDataLst>
              <p:tags r:id="rId24"/>
            </p:custDataLst>
          </p:nvPr>
        </p:nvSpPr>
        <p:spPr>
          <a:xfrm>
            <a:off x="3929058" y="2503411"/>
            <a:ext cx="1512168" cy="648072"/>
          </a:xfrm>
          <a:prstGeom prst="roundRect">
            <a:avLst>
              <a:gd name="adj" fmla="val 50000"/>
            </a:avLst>
          </a:prstGeom>
          <a:solidFill>
            <a:schemeClr val="accent4">
              <a:lumMod val="60000"/>
              <a:lumOff val="4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5,8</a:t>
            </a:r>
          </a:p>
        </p:txBody>
      </p:sp>
      <p:sp>
        <p:nvSpPr>
          <p:cNvPr id="48" name="Скругленный прямоугольник 47"/>
          <p:cNvSpPr/>
          <p:nvPr>
            <p:custDataLst>
              <p:tags r:id="rId25"/>
            </p:custDataLst>
          </p:nvPr>
        </p:nvSpPr>
        <p:spPr>
          <a:xfrm>
            <a:off x="3357554" y="3871563"/>
            <a:ext cx="1071570" cy="648072"/>
          </a:xfrm>
          <a:prstGeom prst="roundRect">
            <a:avLst>
              <a:gd name="adj" fmla="val 50000"/>
            </a:avLst>
          </a:prstGeom>
          <a:solidFill>
            <a:srgbClr val="FFFF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 2,0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49" name="Скругленный прямоугольник 48"/>
          <p:cNvSpPr/>
          <p:nvPr>
            <p:custDataLst>
              <p:tags r:id="rId26"/>
            </p:custDataLst>
          </p:nvPr>
        </p:nvSpPr>
        <p:spPr>
          <a:xfrm>
            <a:off x="4929190" y="3871563"/>
            <a:ext cx="1071570" cy="616034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288000" rtlCol="0" anchor="ctr"/>
          <a:lstStyle/>
          <a:p>
            <a:pPr algn="ctr"/>
            <a:r>
              <a:rPr lang="ru-RU" sz="2400" b="1" dirty="0" smtClean="0">
                <a:solidFill>
                  <a:schemeClr val="tx1">
                    <a:lumMod val="75000"/>
                    <a:lumOff val="25000"/>
                  </a:schemeClr>
                </a:solidFill>
                <a:ea typeface="Tahoma" pitchFamily="34" charset="0"/>
                <a:cs typeface="Tahoma" pitchFamily="34" charset="0"/>
              </a:rPr>
              <a:t>23,8</a:t>
            </a: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  <a:ea typeface="Tahoma" pitchFamily="34" charset="0"/>
              <a:cs typeface="Tahoma" pitchFamily="34" charset="0"/>
            </a:endParaRPr>
          </a:p>
        </p:txBody>
      </p:sp>
      <p:pic>
        <p:nvPicPr>
          <p:cNvPr id="50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7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3262314" y="2935459"/>
            <a:ext cx="1524000" cy="806921"/>
          </a:xfrm>
          <a:prstGeom prst="rect">
            <a:avLst/>
          </a:prstGeom>
          <a:noFill/>
        </p:spPr>
      </p:pic>
      <p:pic>
        <p:nvPicPr>
          <p:cNvPr id="51" name="Picture 10" descr="http://media.lpgenerator.ru/images/blue_arrow_down_15.png"/>
          <p:cNvPicPr>
            <a:picLocks noChangeAspect="1" noChangeArrowheads="1"/>
          </p:cNvPicPr>
          <p:nvPr>
            <p:custDataLst>
              <p:tags r:id="rId28"/>
            </p:custDataLst>
          </p:nvPr>
        </p:nvPicPr>
        <p:blipFill>
          <a:blip r:embed="rId36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>
            <a:off x="4691074" y="2935459"/>
            <a:ext cx="1524000" cy="8069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5" name="Text Box 5"/>
          <p:cNvSpPr txBox="1">
            <a:spLocks noChangeArrowheads="1"/>
          </p:cNvSpPr>
          <p:nvPr/>
        </p:nvSpPr>
        <p:spPr bwMode="auto">
          <a:xfrm>
            <a:off x="7524328" y="1357298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8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Расходы на софинансирование региональных проектов на реализацию федеральных (национальных) проектов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  <a:cs typeface="Times New Roman" pitchFamily="18" charset="0"/>
              </a:rPr>
              <a:t>в 2021 году </a:t>
            </a:r>
          </a:p>
        </p:txBody>
      </p:sp>
      <p:sp>
        <p:nvSpPr>
          <p:cNvPr id="34" name="Пятиугольник 33"/>
          <p:cNvSpPr/>
          <p:nvPr/>
        </p:nvSpPr>
        <p:spPr>
          <a:xfrm>
            <a:off x="4860032" y="3691382"/>
            <a:ext cx="1357322" cy="78581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6" name="Пятиугольник 35"/>
          <p:cNvSpPr/>
          <p:nvPr/>
        </p:nvSpPr>
        <p:spPr>
          <a:xfrm>
            <a:off x="4857752" y="5491582"/>
            <a:ext cx="1370432" cy="77042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44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37" name="Пятиугольник 36"/>
          <p:cNvSpPr/>
          <p:nvPr/>
        </p:nvSpPr>
        <p:spPr>
          <a:xfrm>
            <a:off x="6444208" y="3691382"/>
            <a:ext cx="857256" cy="785818"/>
          </a:xfrm>
          <a:prstGeom prst="homePlate">
            <a:avLst/>
          </a:prstGeom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</a:t>
            </a:r>
          </a:p>
        </p:txBody>
      </p:sp>
      <p:sp>
        <p:nvSpPr>
          <p:cNvPr id="40" name="Пятиугольник 39"/>
          <p:cNvSpPr/>
          <p:nvPr/>
        </p:nvSpPr>
        <p:spPr>
          <a:xfrm>
            <a:off x="6516216" y="5491582"/>
            <a:ext cx="857256" cy="714380"/>
          </a:xfrm>
          <a:prstGeom prst="homePlate">
            <a:avLst/>
          </a:prstGeom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2" name="Овал 41"/>
          <p:cNvSpPr/>
          <p:nvPr/>
        </p:nvSpPr>
        <p:spPr>
          <a:xfrm>
            <a:off x="7500958" y="3571876"/>
            <a:ext cx="135735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0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3" name="Овал 42"/>
          <p:cNvSpPr/>
          <p:nvPr/>
        </p:nvSpPr>
        <p:spPr>
          <a:xfrm>
            <a:off x="7524328" y="5347566"/>
            <a:ext cx="1285884" cy="928694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scene3d>
            <a:camera prst="orthographicFront"/>
            <a:lightRig rig="threePt" dir="t"/>
          </a:scene3d>
          <a:sp3d>
            <a:bevelT w="165100" prst="coolSlan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5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4" name="Пятиугольник 43"/>
          <p:cNvSpPr/>
          <p:nvPr/>
        </p:nvSpPr>
        <p:spPr>
          <a:xfrm>
            <a:off x="4643438" y="1603150"/>
            <a:ext cx="1785950" cy="1182908"/>
          </a:xfrm>
          <a:prstGeom prst="homePlate">
            <a:avLst/>
          </a:prstGeom>
          <a:gradFill>
            <a:gsLst>
              <a:gs pos="0">
                <a:schemeClr val="tx2">
                  <a:lumMod val="60000"/>
                  <a:lumOff val="40000"/>
                </a:schemeClr>
              </a:gs>
              <a:gs pos="50000">
                <a:schemeClr val="tx2">
                  <a:lumMod val="40000"/>
                  <a:lumOff val="60000"/>
                </a:schemeClr>
              </a:gs>
              <a:gs pos="100000">
                <a:schemeClr val="tx2">
                  <a:lumMod val="60000"/>
                  <a:lumOff val="40000"/>
                </a:schemeClr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 smtClean="0">
                <a:solidFill>
                  <a:schemeClr val="tx1"/>
                </a:solidFill>
              </a:rPr>
              <a:t>Всего на реализацию проекта</a:t>
            </a:r>
            <a:endParaRPr lang="ru-RU" sz="1600" b="1" dirty="0">
              <a:solidFill>
                <a:schemeClr val="tx1"/>
              </a:solidFill>
            </a:endParaRPr>
          </a:p>
        </p:txBody>
      </p:sp>
      <p:sp>
        <p:nvSpPr>
          <p:cNvPr id="45" name="Пятиугольник 44"/>
          <p:cNvSpPr/>
          <p:nvPr/>
        </p:nvSpPr>
        <p:spPr>
          <a:xfrm>
            <a:off x="6444208" y="1819174"/>
            <a:ext cx="985312" cy="681132"/>
          </a:xfrm>
          <a:prstGeom prst="homePlate">
            <a:avLst/>
          </a:prstGeom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b="1" dirty="0" smtClean="0">
                <a:solidFill>
                  <a:schemeClr val="tx1"/>
                </a:solidFill>
              </a:rPr>
              <a:t>% </a:t>
            </a:r>
            <a:r>
              <a:rPr lang="ru-RU" sz="1100" b="1" dirty="0" smtClean="0">
                <a:solidFill>
                  <a:schemeClr val="tx1"/>
                </a:solidFill>
              </a:rPr>
              <a:t>местной доли</a:t>
            </a:r>
            <a:endParaRPr lang="ru-RU" sz="1400" dirty="0">
              <a:solidFill>
                <a:schemeClr val="tx1"/>
              </a:solidFill>
            </a:endParaRPr>
          </a:p>
        </p:txBody>
      </p:sp>
      <p:pic>
        <p:nvPicPr>
          <p:cNvPr id="46" name="Picture 2" descr="C:\Users\BUDG-111\Desktop\Безымянный13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459134"/>
            <a:ext cx="4286280" cy="857256"/>
          </a:xfrm>
          <a:prstGeom prst="rect">
            <a:avLst/>
          </a:prstGeom>
          <a:noFill/>
          <a:effectLst>
            <a:reflection blurRad="6350" stA="50000" endA="300" endPos="90000" dir="5400000" sy="-100000" algn="bl" rotWithShape="0"/>
          </a:effectLst>
        </p:spPr>
      </p:pic>
      <p:sp>
        <p:nvSpPr>
          <p:cNvPr id="47" name="Скругленный прямоугольник 46"/>
          <p:cNvSpPr/>
          <p:nvPr/>
        </p:nvSpPr>
        <p:spPr>
          <a:xfrm>
            <a:off x="323528" y="5059534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8" name="Скругленный прямоугольник 47"/>
          <p:cNvSpPr/>
          <p:nvPr/>
        </p:nvSpPr>
        <p:spPr>
          <a:xfrm>
            <a:off x="285720" y="3429000"/>
            <a:ext cx="4248472" cy="1584176"/>
          </a:xfrm>
          <a:prstGeom prst="roundRect">
            <a:avLst>
              <a:gd name="adj" fmla="val 20374"/>
            </a:avLst>
          </a:prstGeom>
          <a:solidFill>
            <a:srgbClr val="A5C4E9">
              <a:alpha val="49000"/>
            </a:srgbClr>
          </a:solidFill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/>
          </a:sp3d>
        </p:spPr>
        <p:txBody>
          <a:bodyPr wrap="none" lIns="108000" tIns="144000" anchor="ctr"/>
          <a:lstStyle/>
          <a:p>
            <a:pPr>
              <a:lnSpc>
                <a:spcPts val="1400"/>
              </a:lnSpc>
            </a:pPr>
            <a:endParaRPr lang="ru-RU" sz="2400" b="1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9" name="Rectangle 19"/>
          <p:cNvSpPr>
            <a:spLocks noChangeArrowheads="1"/>
          </p:cNvSpPr>
          <p:nvPr/>
        </p:nvSpPr>
        <p:spPr bwMode="auto">
          <a:xfrm>
            <a:off x="323528" y="4000504"/>
            <a:ext cx="4176464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b="1" dirty="0" smtClean="0">
                <a:solidFill>
                  <a:srgbClr val="333300"/>
                </a:solidFill>
                <a:latin typeface="Arial" charset="0"/>
              </a:rPr>
              <a:t>«Цифровая культура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50" name="Rectangle 19"/>
          <p:cNvSpPr>
            <a:spLocks noChangeArrowheads="1"/>
          </p:cNvSpPr>
          <p:nvPr/>
        </p:nvSpPr>
        <p:spPr bwMode="auto">
          <a:xfrm>
            <a:off x="755576" y="5419574"/>
            <a:ext cx="3168352" cy="83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85763" indent="-385763" algn="ctr" defTabSz="1028700" eaLnBrk="1" hangingPunct="1">
              <a:lnSpc>
                <a:spcPct val="80000"/>
              </a:lnSpc>
              <a:spcBef>
                <a:spcPct val="20000"/>
              </a:spcBef>
              <a:buClr>
                <a:schemeClr val="tx2"/>
              </a:buClr>
              <a:buSzPct val="115000"/>
              <a:buFont typeface="Wingdings" pitchFamily="2" charset="2"/>
              <a:buNone/>
            </a:pPr>
            <a:r>
              <a:rPr lang="ru-RU" sz="2000" b="1" dirty="0" smtClean="0">
                <a:solidFill>
                  <a:srgbClr val="333300"/>
                </a:solidFill>
                <a:latin typeface="Arial" charset="0"/>
              </a:rPr>
              <a:t>«Формирование комфортной городской среды»</a:t>
            </a:r>
            <a:endParaRPr lang="ru-RU" sz="2000" b="1" dirty="0">
              <a:solidFill>
                <a:srgbClr val="333300"/>
              </a:solidFill>
              <a:latin typeface="Arial" charset="0"/>
            </a:endParaRPr>
          </a:p>
        </p:txBody>
      </p:sp>
      <p:sp>
        <p:nvSpPr>
          <p:cNvPr id="51" name="Овал 50"/>
          <p:cNvSpPr/>
          <p:nvPr/>
        </p:nvSpPr>
        <p:spPr>
          <a:xfrm>
            <a:off x="7451750" y="1761416"/>
            <a:ext cx="1477968" cy="1000132"/>
          </a:xfrm>
          <a:prstGeom prst="ellipse">
            <a:avLst/>
          </a:prstGeom>
          <a:gradFill>
            <a:gsLst>
              <a:gs pos="0">
                <a:srgbClr val="FF6699"/>
              </a:gs>
              <a:gs pos="50000">
                <a:srgbClr val="FFCCCC"/>
              </a:gs>
              <a:gs pos="100000">
                <a:srgbClr val="FF6699"/>
              </a:gs>
            </a:gsLst>
            <a:lin ang="5400000" scaled="0"/>
          </a:gradFill>
          <a:effectLst/>
          <a:scene3d>
            <a:camera prst="orthographicFront"/>
            <a:lightRig rig="threePt" dir="t"/>
          </a:scene3d>
          <a:sp3d>
            <a:bevelT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500" b="1" dirty="0" smtClean="0">
                <a:solidFill>
                  <a:schemeClr val="tx1"/>
                </a:solidFill>
              </a:rPr>
              <a:t>За счет местных средств</a:t>
            </a:r>
            <a:endParaRPr lang="ru-RU" sz="1500" b="1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Овал 4"/>
          <p:cNvSpPr/>
          <p:nvPr/>
        </p:nvSpPr>
        <p:spPr>
          <a:xfrm>
            <a:off x="8358214" y="2571744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Text Box 5"/>
          <p:cNvSpPr txBox="1">
            <a:spLocks noChangeArrowheads="1"/>
          </p:cNvSpPr>
          <p:nvPr/>
        </p:nvSpPr>
        <p:spPr bwMode="auto">
          <a:xfrm>
            <a:off x="7572396" y="92867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357290" y="142852"/>
            <a:ext cx="7429552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Софинансирование субсидий из регионального (краевого) бюджета в 2021 году </a:t>
            </a:r>
          </a:p>
        </p:txBody>
      </p:sp>
      <p:sp>
        <p:nvSpPr>
          <p:cNvPr id="9" name="Овал 8"/>
          <p:cNvSpPr/>
          <p:nvPr/>
        </p:nvSpPr>
        <p:spPr>
          <a:xfrm>
            <a:off x="8358214" y="3012468"/>
            <a:ext cx="45719" cy="45719"/>
          </a:xfrm>
          <a:prstGeom prst="ellips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214282" y="1285860"/>
          <a:ext cx="8715436" cy="517179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90864"/>
                <a:gridCol w="1140422"/>
                <a:gridCol w="1384150"/>
              </a:tblGrid>
              <a:tr h="795665">
                <a:tc>
                  <a:txBody>
                    <a:bodyPr/>
                    <a:lstStyle/>
                    <a:p>
                      <a:pPr algn="ctr"/>
                      <a:r>
                        <a:rPr lang="ru-RU" sz="1400" dirty="0" smtClean="0">
                          <a:solidFill>
                            <a:sysClr val="windowText" lastClr="000000"/>
                          </a:solidFill>
                        </a:rPr>
                        <a:t>Наименование субсидии</a:t>
                      </a:r>
                      <a:endParaRPr lang="ru-RU" sz="14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Всего сумма субсидии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В том числе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 з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а счет местных средств</a:t>
                      </a:r>
                      <a:endParaRPr lang="ru-RU" sz="13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marL="36000" marR="36000" marT="36000" marB="36000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  <a:tr h="450047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офилактика терроризма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1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01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430425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Приобретение жилья молодым семьям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4,7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896352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chemeClr val="tx1"/>
                          </a:solidFill>
                        </a:rPr>
                        <a:t>Организация бесплатного горячего питания обучающихся</a:t>
                      </a: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6,7</a:t>
                      </a:r>
                      <a:endParaRPr lang="ru-RU" sz="1600" dirty="0"/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1,4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384246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Комплектование книжных фондов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0,3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2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3854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Реализация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проектов, основанных на местных инициативах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5,4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1,4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38544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 Ремонт автомобильных дорог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smtClean="0"/>
                        <a:t>16,2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0,8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413663">
                <a:tc>
                  <a:txBody>
                    <a:bodyPr/>
                    <a:lstStyle/>
                    <a:p>
                      <a:pPr algn="l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Формирование</a:t>
                      </a:r>
                      <a:r>
                        <a:rPr lang="ru-RU" sz="1600" baseline="0" dirty="0" smtClean="0">
                          <a:solidFill>
                            <a:sysClr val="windowText" lastClr="000000"/>
                          </a:solidFill>
                        </a:rPr>
                        <a:t> современной городской среды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44,4</a:t>
                      </a:r>
                      <a:endParaRPr lang="ru-RU" sz="1600" dirty="0"/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ysClr val="windowText" lastClr="000000"/>
                          </a:solidFill>
                        </a:rPr>
                        <a:t>2,5</a:t>
                      </a:r>
                      <a:endParaRPr lang="ru-RU" sz="1600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rgbClr val="CCCCFF"/>
                    </a:solidFill>
                  </a:tcPr>
                </a:tc>
              </a:tr>
              <a:tr h="515249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Строительство школы в п. Капельница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333,1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600" kern="1200" dirty="0" smtClean="0">
                          <a:solidFill>
                            <a:sysClr val="windowText" lastClr="000000"/>
                          </a:solidFill>
                          <a:latin typeface="+mn-lt"/>
                          <a:ea typeface="+mn-ea"/>
                          <a:cs typeface="+mn-cs"/>
                        </a:rPr>
                        <a:t>3,3</a:t>
                      </a:r>
                      <a:endParaRPr lang="ru-RU" sz="1600" kern="1200" dirty="0">
                        <a:solidFill>
                          <a:sysClr val="windowText" lastClr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solidFill>
                      <a:srgbClr val="FFCCCC"/>
                    </a:solidFill>
                  </a:tcPr>
                </a:tc>
              </a:tr>
              <a:tr h="515249">
                <a:tc>
                  <a:txBody>
                    <a:bodyPr/>
                    <a:lstStyle/>
                    <a:p>
                      <a:pPr algn="l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Итого: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/>
                        <a:t>430,9</a:t>
                      </a:r>
                      <a:endParaRPr lang="ru-RU" sz="1600" b="1" dirty="0"/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dirty="0" smtClean="0">
                          <a:solidFill>
                            <a:sysClr val="windowText" lastClr="000000"/>
                          </a:solidFill>
                        </a:rPr>
                        <a:t>10,1</a:t>
                      </a:r>
                      <a:endParaRPr lang="ru-RU" sz="1600" b="1" dirty="0">
                        <a:solidFill>
                          <a:sysClr val="windowText" lastClr="000000"/>
                        </a:solidFill>
                      </a:endParaRPr>
                    </a:p>
                  </a:txBody>
                  <a:tcPr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pSp>
        <p:nvGrpSpPr>
          <p:cNvPr id="5" name="Группа 11"/>
          <p:cNvGrpSpPr/>
          <p:nvPr/>
        </p:nvGrpSpPr>
        <p:grpSpPr>
          <a:xfrm>
            <a:off x="6444208" y="1916832"/>
            <a:ext cx="2250000" cy="1428760"/>
            <a:chOff x="6749673" y="5713325"/>
            <a:chExt cx="2250000" cy="711436"/>
          </a:xfrm>
        </p:grpSpPr>
        <p:sp>
          <p:nvSpPr>
            <p:cNvPr id="6" name="AutoShape 32"/>
            <p:cNvSpPr>
              <a:spLocks noChangeArrowheads="1"/>
            </p:cNvSpPr>
            <p:nvPr/>
          </p:nvSpPr>
          <p:spPr bwMode="auto">
            <a:xfrm>
              <a:off x="6749673" y="5713325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r>
                <a:rPr lang="ru-RU" sz="1600" b="1" dirty="0">
                  <a:solidFill>
                    <a:schemeClr val="tx1">
                      <a:lumMod val="85000"/>
                      <a:lumOff val="15000"/>
                    </a:schemeClr>
                  </a:solidFill>
                </a:rPr>
                <a:t>Прочие объекты</a:t>
              </a:r>
            </a:p>
          </p:txBody>
        </p:sp>
        <p:sp>
          <p:nvSpPr>
            <p:cNvPr id="7" name="Скругленный прямоугольник 6"/>
            <p:cNvSpPr/>
            <p:nvPr/>
          </p:nvSpPr>
          <p:spPr>
            <a:xfrm>
              <a:off x="7495017" y="6101401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1,7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grpSp>
        <p:nvGrpSpPr>
          <p:cNvPr id="11" name="Группа 3"/>
          <p:cNvGrpSpPr/>
          <p:nvPr/>
        </p:nvGrpSpPr>
        <p:grpSpPr>
          <a:xfrm>
            <a:off x="251520" y="1772816"/>
            <a:ext cx="2232248" cy="1605431"/>
            <a:chOff x="6749680" y="1793534"/>
            <a:chExt cx="2250000" cy="727191"/>
          </a:xfrm>
        </p:grpSpPr>
        <p:sp>
          <p:nvSpPr>
            <p:cNvPr id="12" name="AutoShape 32"/>
            <p:cNvSpPr>
              <a:spLocks noChangeArrowheads="1"/>
            </p:cNvSpPr>
            <p:nvPr/>
          </p:nvSpPr>
          <p:spPr bwMode="auto">
            <a:xfrm>
              <a:off x="6749680" y="1793534"/>
              <a:ext cx="2250000" cy="355696"/>
            </a:xfrm>
            <a:prstGeom prst="roundRect">
              <a:avLst>
                <a:gd name="adj" fmla="val 16667"/>
              </a:avLst>
            </a:prstGeom>
            <a:solidFill>
              <a:srgbClr val="A5C4E9">
                <a:alpha val="49000"/>
              </a:srgbClr>
            </a:solidFill>
            <a:ln w="9525">
              <a:noFill/>
              <a:round/>
              <a:headEnd/>
              <a:tailEnd/>
            </a:ln>
            <a:effectLst/>
          </p:spPr>
          <p:txBody>
            <a:bodyPr wrap="none" lIns="108000" tIns="72000" bIns="72000" anchor="ctr"/>
            <a:lstStyle/>
            <a:p>
              <a:pPr algn="ctr">
                <a:lnSpc>
                  <a:spcPts val="1400"/>
                </a:lnSpc>
              </a:pPr>
              <a:endParaRPr lang="ru-RU" sz="1600" b="1" dirty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sp>
          <p:nvSpPr>
            <p:cNvPr id="13" name="Скругленный прямоугольник 12"/>
            <p:cNvSpPr/>
            <p:nvPr/>
          </p:nvSpPr>
          <p:spPr>
            <a:xfrm>
              <a:off x="7458051" y="2197365"/>
              <a:ext cx="756000" cy="323360"/>
            </a:xfrm>
            <a:prstGeom prst="roundRect">
              <a:avLst/>
            </a:prstGeom>
            <a:solidFill>
              <a:srgbClr val="FFDE75">
                <a:alpha val="80000"/>
              </a:srgb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>
                <a:tabLst>
                  <a:tab pos="542925" algn="l"/>
                </a:tabLst>
              </a:pPr>
              <a:r>
                <a:rPr lang="ru-RU" dirty="0" smtClean="0">
                  <a:ln>
                    <a:solidFill>
                      <a:schemeClr val="tx1"/>
                    </a:solidFill>
                  </a:ln>
                  <a:solidFill>
                    <a:schemeClr val="tx1"/>
                  </a:solidFill>
                  <a:latin typeface="+mj-lt"/>
                  <a:cs typeface="Times New Roman" pitchFamily="18" charset="0"/>
                </a:rPr>
                <a:t>333,1</a:t>
              </a:r>
              <a:endParaRPr lang="ru-RU" dirty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  <a:latin typeface="+mj-lt"/>
                <a:cs typeface="Times New Roman" pitchFamily="18" charset="0"/>
              </a:endParaRPr>
            </a:p>
          </p:txBody>
        </p:sp>
      </p:grpSp>
      <p:sp>
        <p:nvSpPr>
          <p:cNvPr id="14" name="Скругленный прямоугольник 13"/>
          <p:cNvSpPr/>
          <p:nvPr/>
        </p:nvSpPr>
        <p:spPr>
          <a:xfrm>
            <a:off x="4283968" y="1052736"/>
            <a:ext cx="1505024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2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334,8</a:t>
            </a:r>
            <a:endParaRPr lang="ru-RU" sz="2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251520" y="1772816"/>
            <a:ext cx="2232248" cy="755984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Образование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6732240" y="1916832"/>
            <a:ext cx="2232248" cy="720080"/>
          </a:xfrm>
          <a:prstGeom prst="roundRect">
            <a:avLst/>
          </a:prstGeom>
          <a:solidFill>
            <a:schemeClr val="accent6">
              <a:lumMod val="40000"/>
              <a:lumOff val="60000"/>
              <a:alpha val="97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sz="2400" dirty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 </a:t>
            </a:r>
            <a:r>
              <a:rPr lang="ru-RU" sz="1600" b="1" dirty="0" smtClean="0">
                <a:solidFill>
                  <a:prstClr val="black"/>
                </a:solidFill>
                <a:ea typeface="Tahoma" pitchFamily="34" charset="0"/>
                <a:cs typeface="Tahoma" pitchFamily="34" charset="0"/>
              </a:rPr>
              <a:t>Прочие объекты</a:t>
            </a:r>
            <a:endParaRPr lang="ru-RU" sz="1600" b="1" dirty="0">
              <a:solidFill>
                <a:prstClr val="black"/>
              </a:solidFill>
              <a:ea typeface="Tahoma" pitchFamily="34" charset="0"/>
              <a:cs typeface="Tahoma" pitchFamily="34" charset="0"/>
            </a:endParaRPr>
          </a:p>
        </p:txBody>
      </p:sp>
      <p:sp>
        <p:nvSpPr>
          <p:cNvPr id="19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21" name="Прямоугольник 20"/>
          <p:cNvSpPr/>
          <p:nvPr/>
        </p:nvSpPr>
        <p:spPr>
          <a:xfrm>
            <a:off x="251520" y="404664"/>
            <a:ext cx="8640960" cy="3877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Бюджетные инвестиции в 2021 году</a:t>
            </a:r>
            <a:endParaRPr lang="ru-RU" alt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pic>
        <p:nvPicPr>
          <p:cNvPr id="17" name="Picture 2" descr="http://www.planetakartinok.ru/_ph/121/2/795574096.gif"/>
          <p:cNvPicPr>
            <a:picLocks noChangeAspect="1" noChangeArrowheads="1" noCrop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4077072"/>
            <a:ext cx="2240628" cy="20882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9" descr="https://otvet.imgsmail.ru/download/u_89091af776a2af79086fe592fa56cf31_800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857620" y="2714620"/>
            <a:ext cx="3493886" cy="3200400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2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2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6" grpId="0" animBg="1"/>
      <p:bldP spid="18" grpId="0" animBg="1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6" name="Text Box 5"/>
          <p:cNvSpPr txBox="1">
            <a:spLocks noChangeArrowheads="1"/>
          </p:cNvSpPr>
          <p:nvPr/>
        </p:nvSpPr>
        <p:spPr bwMode="auto">
          <a:xfrm>
            <a:off x="7429520" y="1285860"/>
            <a:ext cx="1373196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571472" y="142852"/>
            <a:ext cx="8143932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Объем дорожного фонда города-курорта Железноводска  на 2021 год и плановый период 2022 и 20</a:t>
            </a:r>
            <a:r>
              <a:rPr lang="en-US" sz="2400" b="1" dirty="0" smtClean="0">
                <a:solidFill>
                  <a:schemeClr val="bg1"/>
                </a:solidFill>
                <a:cs typeface="Times New Roman" pitchFamily="18" charset="0"/>
              </a:rPr>
              <a:t>2</a:t>
            </a:r>
            <a:r>
              <a:rPr lang="ru-RU" sz="2400" b="1" dirty="0" smtClean="0">
                <a:solidFill>
                  <a:schemeClr val="bg1"/>
                </a:solidFill>
                <a:cs typeface="Times New Roman" pitchFamily="18" charset="0"/>
              </a:rPr>
              <a:t>3 годов</a:t>
            </a:r>
            <a:endParaRPr lang="ru-RU" sz="2400" b="1" dirty="0">
              <a:solidFill>
                <a:schemeClr val="bg1"/>
              </a:solidFill>
              <a:cs typeface="Times New Roman" pitchFamily="18" charset="0"/>
            </a:endParaRPr>
          </a:p>
        </p:txBody>
      </p:sp>
      <p:graphicFrame>
        <p:nvGraphicFramePr>
          <p:cNvPr id="8" name="Диаграмма 7"/>
          <p:cNvGraphicFramePr/>
          <p:nvPr/>
        </p:nvGraphicFramePr>
        <p:xfrm>
          <a:off x="0" y="571480"/>
          <a:ext cx="9144000" cy="558924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9" name="Picture 2" descr="http://www.zabedu.ru/files/org/1285/59d4cfb732509.gif"/>
          <p:cNvPicPr>
            <a:picLocks noChangeAspect="1" noChangeArrowheads="1" noCrop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95536" y="5085184"/>
            <a:ext cx="8352928" cy="148478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cxnSp>
        <p:nvCxnSpPr>
          <p:cNvPr id="61" name="Прямая соединительная линия 60"/>
          <p:cNvCxnSpPr>
            <a:endCxn id="41" idx="0"/>
          </p:cNvCxnSpPr>
          <p:nvPr/>
        </p:nvCxnSpPr>
        <p:spPr>
          <a:xfrm rot="16200000" flipH="1">
            <a:off x="4266964" y="3019657"/>
            <a:ext cx="1785948" cy="1033001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Прямая соединительная линия 25"/>
          <p:cNvCxnSpPr>
            <a:endCxn id="20" idx="0"/>
          </p:cNvCxnSpPr>
          <p:nvPr/>
        </p:nvCxnSpPr>
        <p:spPr>
          <a:xfrm rot="10800000" flipV="1">
            <a:off x="1186390" y="2643182"/>
            <a:ext cx="2671230" cy="178595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Скругленный прямоугольник 4"/>
          <p:cNvSpPr/>
          <p:nvPr>
            <p:custDataLst>
              <p:tags r:id="rId1"/>
            </p:custDataLst>
          </p:nvPr>
        </p:nvSpPr>
        <p:spPr>
          <a:xfrm>
            <a:off x="755577" y="1052736"/>
            <a:ext cx="1872208" cy="1060606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>
            <p:custDataLst>
              <p:tags r:id="rId2"/>
            </p:custDataLst>
          </p:nvPr>
        </p:nvSpPr>
        <p:spPr>
          <a:xfrm>
            <a:off x="755576" y="1124744"/>
            <a:ext cx="189516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за счет средств краевого бюджета</a:t>
            </a:r>
            <a:endParaRPr lang="ru-RU" sz="1400" b="1" dirty="0"/>
          </a:p>
        </p:txBody>
      </p:sp>
      <p:sp>
        <p:nvSpPr>
          <p:cNvPr id="7" name="Скругленный прямоугольник 6"/>
          <p:cNvSpPr/>
          <p:nvPr>
            <p:custDataLst>
              <p:tags r:id="rId3"/>
            </p:custDataLst>
          </p:nvPr>
        </p:nvSpPr>
        <p:spPr>
          <a:xfrm>
            <a:off x="899592" y="1700808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5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8" name="Скругленный прямоугольник 7"/>
          <p:cNvSpPr/>
          <p:nvPr>
            <p:custDataLst>
              <p:tags r:id="rId4"/>
            </p:custDataLst>
          </p:nvPr>
        </p:nvSpPr>
        <p:spPr>
          <a:xfrm>
            <a:off x="3143240" y="1916832"/>
            <a:ext cx="2868920" cy="936104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/>
          <p:cNvSpPr/>
          <p:nvPr>
            <p:custDataLst>
              <p:tags r:id="rId5"/>
            </p:custDataLst>
          </p:nvPr>
        </p:nvSpPr>
        <p:spPr>
          <a:xfrm>
            <a:off x="3286116" y="1857364"/>
            <a:ext cx="244827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за счет средств </a:t>
            </a:r>
          </a:p>
          <a:p>
            <a:pPr algn="ctr">
              <a:lnSpc>
                <a:spcPts val="1800"/>
              </a:lnSpc>
            </a:pPr>
            <a:r>
              <a:rPr lang="ru-RU" sz="1400" b="1" dirty="0" smtClean="0"/>
              <a:t>бюджета города</a:t>
            </a:r>
            <a:endParaRPr lang="ru-RU" sz="1400" b="1" dirty="0"/>
          </a:p>
        </p:txBody>
      </p:sp>
      <p:sp>
        <p:nvSpPr>
          <p:cNvPr id="10" name="Скругленный прямоугольник 9"/>
          <p:cNvSpPr/>
          <p:nvPr>
            <p:custDataLst>
              <p:tags r:id="rId6"/>
            </p:custDataLst>
          </p:nvPr>
        </p:nvSpPr>
        <p:spPr>
          <a:xfrm>
            <a:off x="3635896" y="2428868"/>
            <a:ext cx="1656184" cy="28005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0,8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251520" y="2564904"/>
            <a:ext cx="2016224" cy="1132614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/>
        </p:nvSpPr>
        <p:spPr>
          <a:xfrm>
            <a:off x="251520" y="2564904"/>
            <a:ext cx="2088232" cy="784830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дорожная разметка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с применением термопластика</a:t>
            </a:r>
            <a:endParaRPr lang="ru-RU" sz="1400" b="1" dirty="0"/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95536" y="3284984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3,4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214282" y="4429132"/>
            <a:ext cx="2160240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/>
          <p:cNvSpPr/>
          <p:nvPr/>
        </p:nvSpPr>
        <p:spPr>
          <a:xfrm>
            <a:off x="214282" y="4429132"/>
            <a:ext cx="194421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механизированная </a:t>
            </a:r>
          </a:p>
          <a:p>
            <a:pPr lvl="0" algn="ctr">
              <a:lnSpc>
                <a:spcPts val="1800"/>
              </a:lnSpc>
            </a:pPr>
            <a:r>
              <a:rPr lang="ru-RU" sz="1400" b="1" dirty="0" smtClean="0"/>
              <a:t>и ручная уборка</a:t>
            </a:r>
            <a:endParaRPr lang="ru-RU" sz="1400" b="1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358298" y="5005196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0,3</a:t>
            </a:r>
            <a:endParaRPr lang="ru-RU" b="1" dirty="0">
              <a:solidFill>
                <a:schemeClr val="tx1"/>
              </a:solidFill>
            </a:endParaRPr>
          </a:p>
        </p:txBody>
      </p:sp>
      <p:grpSp>
        <p:nvGrpSpPr>
          <p:cNvPr id="2" name="Группа 8"/>
          <p:cNvGrpSpPr/>
          <p:nvPr/>
        </p:nvGrpSpPr>
        <p:grpSpPr>
          <a:xfrm>
            <a:off x="3563888" y="1052736"/>
            <a:ext cx="1897635" cy="648072"/>
            <a:chOff x="3280593" y="1837348"/>
            <a:chExt cx="2577739" cy="1392963"/>
          </a:xfrm>
          <a:solidFill>
            <a:schemeClr val="accent2">
              <a:lumMod val="75000"/>
            </a:schemeClr>
          </a:solidFill>
        </p:grpSpPr>
        <p:sp>
          <p:nvSpPr>
            <p:cNvPr id="23" name="Скругленный прямоугольник 22"/>
            <p:cNvSpPr/>
            <p:nvPr>
              <p:custDataLst>
                <p:tags r:id="rId19"/>
              </p:custDataLst>
            </p:nvPr>
          </p:nvSpPr>
          <p:spPr>
            <a:xfrm>
              <a:off x="3280593" y="1837348"/>
              <a:ext cx="2577739" cy="1392963"/>
            </a:xfrm>
            <a:prstGeom prst="roundRect">
              <a:avLst>
                <a:gd name="adj" fmla="val 50000"/>
              </a:avLst>
            </a:prstGeom>
            <a:grpFill/>
            <a:ln w="73025">
              <a:solidFill>
                <a:srgbClr val="EEBB2A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24" name="Скругленный прямоугольник 23"/>
            <p:cNvSpPr/>
            <p:nvPr>
              <p:custDataLst>
                <p:tags r:id="rId20"/>
              </p:custDataLst>
            </p:nvPr>
          </p:nvSpPr>
          <p:spPr>
            <a:xfrm>
              <a:off x="3429548" y="1984698"/>
              <a:ext cx="2289676" cy="1102442"/>
            </a:xfrm>
            <a:prstGeom prst="roundRect">
              <a:avLst>
                <a:gd name="adj" fmla="val 50000"/>
              </a:avLst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 prstMaterial="flat">
              <a:bevelT w="203200" h="2032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rIns="0" rtlCol="0" anchor="ctr"/>
            <a:lstStyle/>
            <a:p>
              <a:pPr algn="ctr"/>
              <a:r>
                <a:rPr lang="ru-RU" sz="2800" b="1" dirty="0" smtClean="0">
                  <a:solidFill>
                    <a:schemeClr val="tx1"/>
                  </a:solidFill>
                </a:rPr>
                <a:t>36,2</a:t>
              </a:r>
              <a:endParaRPr lang="ru-RU" sz="2800" b="1" dirty="0">
                <a:solidFill>
                  <a:schemeClr val="tx1"/>
                </a:solidFill>
              </a:endParaRPr>
            </a:p>
          </p:txBody>
        </p:sp>
      </p:grpSp>
      <p:cxnSp>
        <p:nvCxnSpPr>
          <p:cNvPr id="27" name="Прямая соединительная линия 26"/>
          <p:cNvCxnSpPr/>
          <p:nvPr/>
        </p:nvCxnSpPr>
        <p:spPr>
          <a:xfrm>
            <a:off x="2771800" y="1340768"/>
            <a:ext cx="720080" cy="7200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>
            <a:endCxn id="8" idx="1"/>
          </p:cNvCxnSpPr>
          <p:nvPr/>
        </p:nvCxnSpPr>
        <p:spPr>
          <a:xfrm flipV="1">
            <a:off x="2350012" y="2384884"/>
            <a:ext cx="793228" cy="23597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Прямая соединительная линия 28"/>
          <p:cNvCxnSpPr/>
          <p:nvPr/>
        </p:nvCxnSpPr>
        <p:spPr>
          <a:xfrm>
            <a:off x="4499992" y="1772816"/>
            <a:ext cx="0" cy="288032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29"/>
          <p:cNvCxnSpPr>
            <a:endCxn id="8" idx="3"/>
          </p:cNvCxnSpPr>
          <p:nvPr/>
        </p:nvCxnSpPr>
        <p:spPr>
          <a:xfrm flipH="1" flipV="1">
            <a:off x="6012160" y="2384884"/>
            <a:ext cx="1090380" cy="163964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Text Box 5"/>
          <p:cNvSpPr txBox="1">
            <a:spLocks noChangeArrowheads="1"/>
          </p:cNvSpPr>
          <p:nvPr/>
        </p:nvSpPr>
        <p:spPr bwMode="auto">
          <a:xfrm>
            <a:off x="7452320" y="1124744"/>
            <a:ext cx="1223797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400" b="1" dirty="0" smtClean="0">
                <a:solidFill>
                  <a:srgbClr val="190F65"/>
                </a:solidFill>
                <a:latin typeface="Arial" charset="0"/>
              </a:rPr>
              <a:t>млн.рублей</a:t>
            </a:r>
          </a:p>
        </p:txBody>
      </p:sp>
      <p:sp>
        <p:nvSpPr>
          <p:cNvPr id="35" name="Скругленный прямоугольник 34"/>
          <p:cNvSpPr/>
          <p:nvPr>
            <p:custDataLst>
              <p:tags r:id="rId7"/>
            </p:custDataLst>
          </p:nvPr>
        </p:nvSpPr>
        <p:spPr>
          <a:xfrm>
            <a:off x="4571430" y="4429132"/>
            <a:ext cx="2039179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8" name="Скругленный прямоугольник 37"/>
          <p:cNvSpPr/>
          <p:nvPr>
            <p:custDataLst>
              <p:tags r:id="rId8"/>
            </p:custDataLst>
          </p:nvPr>
        </p:nvSpPr>
        <p:spPr>
          <a:xfrm>
            <a:off x="4787454" y="5005196"/>
            <a:ext cx="1683378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9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41" name="Прямоугольник 40"/>
          <p:cNvSpPr/>
          <p:nvPr>
            <p:custDataLst>
              <p:tags r:id="rId9"/>
            </p:custDataLst>
          </p:nvPr>
        </p:nvSpPr>
        <p:spPr>
          <a:xfrm>
            <a:off x="4643438" y="4429132"/>
            <a:ext cx="2066002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благоустройство подземного перехода</a:t>
            </a:r>
            <a:endParaRPr lang="ru-RU" sz="1400" b="1" dirty="0"/>
          </a:p>
        </p:txBody>
      </p:sp>
      <p:sp>
        <p:nvSpPr>
          <p:cNvPr id="46" name="Прямоугольник 45"/>
          <p:cNvSpPr/>
          <p:nvPr/>
        </p:nvSpPr>
        <p:spPr>
          <a:xfrm>
            <a:off x="251520" y="332656"/>
            <a:ext cx="8640960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Использование дорожного фонда</a:t>
            </a:r>
          </a:p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города-курорта Железноводска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sp>
        <p:nvSpPr>
          <p:cNvPr id="65" name="Скругленный прямоугольник 64"/>
          <p:cNvSpPr/>
          <p:nvPr>
            <p:custDataLst>
              <p:tags r:id="rId10"/>
            </p:custDataLst>
          </p:nvPr>
        </p:nvSpPr>
        <p:spPr>
          <a:xfrm>
            <a:off x="2428860" y="4429132"/>
            <a:ext cx="2111187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6" name="Скругленный прямоугольник 65"/>
          <p:cNvSpPr/>
          <p:nvPr>
            <p:custDataLst>
              <p:tags r:id="rId11"/>
            </p:custDataLst>
          </p:nvPr>
        </p:nvSpPr>
        <p:spPr>
          <a:xfrm>
            <a:off x="6929454" y="2714620"/>
            <a:ext cx="2003683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1" name="Прямоугольник 70"/>
          <p:cNvSpPr/>
          <p:nvPr>
            <p:custDataLst>
              <p:tags r:id="rId12"/>
            </p:custDataLst>
          </p:nvPr>
        </p:nvSpPr>
        <p:spPr>
          <a:xfrm>
            <a:off x="2572876" y="4501140"/>
            <a:ext cx="2016224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algn="ctr">
              <a:lnSpc>
                <a:spcPts val="1800"/>
              </a:lnSpc>
            </a:pPr>
            <a:r>
              <a:rPr lang="ru-RU" sz="1400" b="1" dirty="0" smtClean="0"/>
              <a:t>пешеходные ограждения</a:t>
            </a:r>
            <a:endParaRPr lang="ru-RU" sz="1400" b="1" dirty="0"/>
          </a:p>
        </p:txBody>
      </p:sp>
      <p:sp>
        <p:nvSpPr>
          <p:cNvPr id="72" name="Прямоугольник 71"/>
          <p:cNvSpPr/>
          <p:nvPr>
            <p:custDataLst>
              <p:tags r:id="rId13"/>
            </p:custDataLst>
          </p:nvPr>
        </p:nvSpPr>
        <p:spPr>
          <a:xfrm>
            <a:off x="6786578" y="2786058"/>
            <a:ext cx="2195736" cy="553998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безопасность дорожного движения</a:t>
            </a:r>
            <a:endParaRPr lang="ru-RU" sz="1400" b="1" dirty="0"/>
          </a:p>
        </p:txBody>
      </p:sp>
      <p:sp>
        <p:nvSpPr>
          <p:cNvPr id="86" name="Скругленный прямоугольник 85"/>
          <p:cNvSpPr/>
          <p:nvPr>
            <p:custDataLst>
              <p:tags r:id="rId14"/>
            </p:custDataLst>
          </p:nvPr>
        </p:nvSpPr>
        <p:spPr>
          <a:xfrm>
            <a:off x="7143768" y="3357562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1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87" name="Скругленный прямоугольник 86"/>
          <p:cNvSpPr/>
          <p:nvPr>
            <p:custDataLst>
              <p:tags r:id="rId15"/>
            </p:custDataLst>
          </p:nvPr>
        </p:nvSpPr>
        <p:spPr>
          <a:xfrm>
            <a:off x="2644884" y="5077204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1,5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58" name="Прямая соединительная линия 57"/>
          <p:cNvCxnSpPr>
            <a:endCxn id="65" idx="0"/>
          </p:cNvCxnSpPr>
          <p:nvPr/>
        </p:nvCxnSpPr>
        <p:spPr>
          <a:xfrm rot="5400000">
            <a:off x="2920940" y="3206698"/>
            <a:ext cx="1785948" cy="658920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Скругленный прямоугольник 35"/>
          <p:cNvSpPr/>
          <p:nvPr>
            <p:custDataLst>
              <p:tags r:id="rId16"/>
            </p:custDataLst>
          </p:nvPr>
        </p:nvSpPr>
        <p:spPr>
          <a:xfrm>
            <a:off x="6643702" y="4429132"/>
            <a:ext cx="2003683" cy="1008112"/>
          </a:xfrm>
          <a:prstGeom prst="roundRect">
            <a:avLst>
              <a:gd name="adj" fmla="val 22669"/>
            </a:avLst>
          </a:prstGeom>
          <a:noFill/>
          <a:ln w="73025">
            <a:solidFill>
              <a:srgbClr val="83AEE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7" name="Прямоугольник 36"/>
          <p:cNvSpPr/>
          <p:nvPr>
            <p:custDataLst>
              <p:tags r:id="rId17"/>
            </p:custDataLst>
          </p:nvPr>
        </p:nvSpPr>
        <p:spPr>
          <a:xfrm>
            <a:off x="6572264" y="4572008"/>
            <a:ext cx="2195736" cy="306302"/>
          </a:xfrm>
          <a:prstGeom prst="rect">
            <a:avLst/>
          </a:prstGeom>
        </p:spPr>
        <p:txBody>
          <a:bodyPr wrap="square" anchor="ctr">
            <a:spAutoFit/>
          </a:bodyPr>
          <a:lstStyle/>
          <a:p>
            <a:pPr lvl="0" algn="ctr">
              <a:lnSpc>
                <a:spcPts val="1800"/>
              </a:lnSpc>
            </a:pPr>
            <a:r>
              <a:rPr lang="ru-RU" sz="1400" b="1" dirty="0" smtClean="0"/>
              <a:t>Прочие мероприятия</a:t>
            </a:r>
            <a:endParaRPr lang="ru-RU" sz="1400" b="1" dirty="0"/>
          </a:p>
        </p:txBody>
      </p:sp>
      <p:sp>
        <p:nvSpPr>
          <p:cNvPr id="39" name="Скругленный прямоугольник 38"/>
          <p:cNvSpPr/>
          <p:nvPr>
            <p:custDataLst>
              <p:tags r:id="rId18"/>
            </p:custDataLst>
          </p:nvPr>
        </p:nvSpPr>
        <p:spPr>
          <a:xfrm>
            <a:off x="6786578" y="5072074"/>
            <a:ext cx="1728192" cy="288032"/>
          </a:xfrm>
          <a:prstGeom prst="roundRect">
            <a:avLst>
              <a:gd name="adj" fmla="val 50000"/>
            </a:avLst>
          </a:prstGeom>
          <a:solidFill>
            <a:schemeClr val="accent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 prstMaterial="flat">
            <a:bevelT w="203200" h="2032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ru-RU" b="1" dirty="0" smtClean="0">
                <a:solidFill>
                  <a:schemeClr val="tx1"/>
                </a:solidFill>
              </a:rPr>
              <a:t>2,6</a:t>
            </a:r>
            <a:endParaRPr lang="ru-RU" b="1" dirty="0">
              <a:solidFill>
                <a:schemeClr val="tx1"/>
              </a:solidFill>
            </a:endParaRPr>
          </a:p>
        </p:txBody>
      </p:sp>
      <p:cxnSp>
        <p:nvCxnSpPr>
          <p:cNvPr id="42" name="Прямая соединительная линия 41"/>
          <p:cNvCxnSpPr>
            <a:endCxn id="36" idx="0"/>
          </p:cNvCxnSpPr>
          <p:nvPr/>
        </p:nvCxnSpPr>
        <p:spPr>
          <a:xfrm>
            <a:off x="5643572" y="2643184"/>
            <a:ext cx="2001972" cy="1785948"/>
          </a:xfrm>
          <a:prstGeom prst="line">
            <a:avLst/>
          </a:prstGeom>
          <a:ln w="82550" cap="rnd">
            <a:solidFill>
              <a:schemeClr val="accent6">
                <a:lumMod val="75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770624458"/>
      </p:ext>
    </p:extLst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7" name="Диаграмма 6"/>
          <p:cNvGraphicFramePr/>
          <p:nvPr/>
        </p:nvGraphicFramePr>
        <p:xfrm>
          <a:off x="285720" y="1340768"/>
          <a:ext cx="8643998" cy="5302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Прямоугольник 7"/>
          <p:cNvSpPr/>
          <p:nvPr/>
        </p:nvSpPr>
        <p:spPr>
          <a:xfrm>
            <a:off x="251520" y="40466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в разрезе муниципальных программ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  <p:graphicFrame>
        <p:nvGraphicFramePr>
          <p:cNvPr id="10" name="Диаграмма 9"/>
          <p:cNvGraphicFramePr/>
          <p:nvPr/>
        </p:nvGraphicFramePr>
        <p:xfrm>
          <a:off x="285720" y="1357298"/>
          <a:ext cx="8643998" cy="53029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Прямоугольник 10"/>
          <p:cNvSpPr/>
          <p:nvPr/>
        </p:nvSpPr>
        <p:spPr>
          <a:xfrm>
            <a:off x="251520" y="421194"/>
            <a:ext cx="8640960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80000"/>
              </a:lnSpc>
              <a:spcBef>
                <a:spcPct val="0"/>
              </a:spcBef>
              <a:defRPr/>
            </a:pPr>
            <a:r>
              <a:rPr lang="ru-RU" altLang="ru-RU" sz="2000" b="1" dirty="0" smtClean="0">
                <a:solidFill>
                  <a:srgbClr val="190F65"/>
                </a:solidFill>
                <a:latin typeface="Arial" charset="0"/>
              </a:rPr>
              <a:t>Расходы в разрезе муниципальных программ на 2021 год</a:t>
            </a:r>
            <a:endParaRPr lang="ru-RU" altLang="ru-RU" sz="2000" b="1" dirty="0">
              <a:solidFill>
                <a:srgbClr val="190F65"/>
              </a:solidFill>
              <a:latin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42844" y="1643050"/>
          <a:ext cx="8786874" cy="497568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786214"/>
                <a:gridCol w="785818"/>
                <a:gridCol w="785818"/>
                <a:gridCol w="785818"/>
                <a:gridCol w="571504"/>
                <a:gridCol w="857256"/>
                <a:gridCol w="714380"/>
                <a:gridCol w="500066"/>
              </a:tblGrid>
              <a:tr h="233711"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Наименование муниципальной программы 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1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2 год</a:t>
                      </a:r>
                      <a:r>
                        <a:rPr lang="ru-RU" sz="1100" u="none" strike="noStrike" dirty="0"/>
                        <a:t>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Отклонение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</a:t>
                      </a:r>
                      <a:r>
                        <a:rPr lang="ru-RU" sz="1100" u="none" strike="noStrike" dirty="0" smtClean="0"/>
                        <a:t>2023 </a:t>
                      </a:r>
                      <a:r>
                        <a:rPr lang="ru-RU" sz="1100" u="none" strike="noStrike" dirty="0"/>
                        <a:t>год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Отклонение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2347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(+/-)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 (+/-) 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%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образования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11,7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08,1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smtClean="0"/>
                        <a:t>-3,6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9,6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72,0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336,0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62,9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658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Социальная поддержка населения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66,3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61,4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4,8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8,6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64,5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,1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00,8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Управление имуществом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1,2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,6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1,5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6,0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,3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3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6,7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5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физической культуры и спорта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7,5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6,5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9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4,4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6,0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5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6,9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Развитие градостроительства, строительства и архитектуры в городе-курорте Железноводске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5,3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,6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6,7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6,4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,4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2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7,5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Культура города-курорта Железноводска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49,8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45,4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4,4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1,1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45,0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3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9,1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экономики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2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2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8,2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1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2,6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109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жилищно-коммунального хозяйства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05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72,9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32,1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72,6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73,1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2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00,3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72730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Развитие транспортной системы и охрана окружающей среды в городе-курорте Железноводске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38,0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21,5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16,</a:t>
                      </a:r>
                      <a:r>
                        <a:rPr lang="ru-RU" sz="1100" u="none" strike="noStrike" baseline="0" dirty="0" smtClean="0"/>
                        <a:t>5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6,6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21,5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0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48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Создание условий безопасной жизни населения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,5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,0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4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4,9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,7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2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7,0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2831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«Открытость и эффективность работы администрации города-курорта Железноводска Ставропольского края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6,5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4,6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-</a:t>
                      </a:r>
                      <a:r>
                        <a:rPr lang="ru-RU" sz="1100" u="none" strike="noStrike" dirty="0" smtClean="0"/>
                        <a:t>1,91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8,4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3,04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1,6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89,0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117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/>
                        <a:t>«Молодежь города-курорта Железноводска Ставропольского края»</a:t>
                      </a:r>
                      <a:endParaRPr lang="ru-RU" sz="1100" b="0" i="0" u="none" strike="noStrike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9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8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05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5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86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0,02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7,07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4722">
                <a:tc>
                  <a:txBody>
                    <a:bodyPr/>
                    <a:lstStyle/>
                    <a:p>
                      <a:pPr algn="l" fontAlgn="ctr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"Формирование современной городской среды"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 anchor="ctr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2,6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1,2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41,</a:t>
                      </a:r>
                      <a:r>
                        <a:rPr lang="ru-RU" sz="1100" u="none" strike="noStrike" baseline="0" dirty="0" smtClean="0"/>
                        <a:t>33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55,38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51,29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0,00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3711">
                <a:tc>
                  <a:txBody>
                    <a:bodyPr/>
                    <a:lstStyle/>
                    <a:p>
                      <a:pPr algn="l" fontAlgn="t">
                        <a:lnSpc>
                          <a:spcPts val="1200"/>
                        </a:lnSpc>
                      </a:pPr>
                      <a:r>
                        <a:rPr lang="ru-RU" sz="1100" u="none" strike="noStrike" dirty="0"/>
                        <a:t>Итого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/>
                      </a:endParaRPr>
                    </a:p>
                  </a:txBody>
                  <a:tcPr marL="4206" marR="4206" marT="4206" marB="0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</a:t>
                      </a:r>
                      <a:r>
                        <a:rPr lang="ru-RU" sz="1100" u="none" strike="noStrike" dirty="0" smtClean="0"/>
                        <a:t>635,1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1520,5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114,58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93,26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/>
                        <a:t>1 </a:t>
                      </a:r>
                      <a:r>
                        <a:rPr lang="ru-RU" sz="1100" u="none" strike="noStrike" dirty="0" smtClean="0"/>
                        <a:t>133,22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-387,31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u="none" strike="noStrike" dirty="0" smtClean="0"/>
                        <a:t>74,53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9525" marR="9525" marT="9525" marB="0" anchor="b">
                    <a:gradFill flip="none" rotWithShape="1">
                      <a:gsLst>
                        <a:gs pos="0">
                          <a:srgbClr val="336699"/>
                        </a:gs>
                        <a:gs pos="50000">
                          <a:srgbClr val="6699FF"/>
                        </a:gs>
                        <a:gs pos="100000">
                          <a:schemeClr val="tx2">
                            <a:lumMod val="20000"/>
                            <a:lumOff val="8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4" name="Text Box 6"/>
          <p:cNvSpPr txBox="1">
            <a:spLocks noChangeArrowheads="1"/>
          </p:cNvSpPr>
          <p:nvPr/>
        </p:nvSpPr>
        <p:spPr bwMode="auto">
          <a:xfrm>
            <a:off x="7921625" y="1304913"/>
            <a:ext cx="1243354" cy="33855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r>
              <a:rPr lang="ru-RU" sz="1600" b="1" dirty="0" smtClean="0"/>
              <a:t>млн.рублей</a:t>
            </a:r>
            <a:endParaRPr lang="ru-RU" sz="1600" b="1" dirty="0"/>
          </a:p>
        </p:txBody>
      </p:sp>
      <p:sp>
        <p:nvSpPr>
          <p:cNvPr id="5" name="AutoShape 2"/>
          <p:cNvSpPr>
            <a:spLocks noChangeArrowheads="1"/>
          </p:cNvSpPr>
          <p:nvPr/>
        </p:nvSpPr>
        <p:spPr bwMode="auto">
          <a:xfrm>
            <a:off x="1142976" y="142852"/>
            <a:ext cx="7643866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Сведения о планируемых расходах на реализацию муниципальных программ на 2021 год и на плановый период 2022-2023 годов</a:t>
            </a:r>
            <a:endParaRPr lang="ru-RU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9395" name="Rectangle 2"/>
          <p:cNvSpPr>
            <a:spLocks noChangeArrowheads="1"/>
          </p:cNvSpPr>
          <p:nvPr/>
        </p:nvSpPr>
        <p:spPr bwMode="auto">
          <a:xfrm>
            <a:off x="323850" y="260350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00"/>
              </a:solidFill>
            </a:endParaRPr>
          </a:p>
        </p:txBody>
      </p:sp>
      <p:sp>
        <p:nvSpPr>
          <p:cNvPr id="6" name="Rectangle 2"/>
          <p:cNvSpPr>
            <a:spLocks noChangeArrowheads="1"/>
          </p:cNvSpPr>
          <p:nvPr/>
        </p:nvSpPr>
        <p:spPr bwMode="auto">
          <a:xfrm>
            <a:off x="500034" y="1000108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20" y="1285860"/>
          <a:ext cx="8643938" cy="5395262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507683"/>
                <a:gridCol w="688460"/>
                <a:gridCol w="611965"/>
                <a:gridCol w="688460"/>
                <a:gridCol w="611965"/>
                <a:gridCol w="535405"/>
              </a:tblGrid>
              <a:tr h="28575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575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3065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ровень удовлетворенности населения города-курорта Железноводска Ставропольского края качеством образования: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ru-RU" dirty="0"/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школьно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1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2350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полнительно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 в рамках формирования развития дошкольного, общего и дополнительного образования в городе Железноводск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5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2" marR="41442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 в возрасте от 1 года до 7 лет, охваченных различными формами дошкольного образования, в общей численности детей дошкольного возраста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6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6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6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66,2</a:t>
                      </a:r>
                      <a:endParaRPr lang="ru-RU" sz="1400" dirty="0"/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начального общего образования, в общей численности учащихся, осваивающих образовательные программы начального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учащихся, обучающихся по федеральному государственному образовательному стандарту основного общего образования, в общей численности учащихся, осваивающих образовательные программы основ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00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, успешно освоивших программу начального общего образования, в общей численности выпускников, освоивших программу начального общего образова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выпускников муниципальных общеобразовательных организаций (далее - общеобразовательные организации), не получивших аттестат о среднем общем образован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,28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,28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ru-RU" sz="1400" dirty="0" smtClean="0"/>
                        <a:t>1,28</a:t>
                      </a:r>
                      <a:endParaRPr lang="ru-RU" sz="1400" dirty="0">
                        <a:latin typeface="+mn-lt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  <a:tr h="5167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етей, охваченных дополнительным образованием, в общей численности детей и молодежи в возрасте от 5 лет до 18 ле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46" marR="41446" marT="0" marB="0" anchor="ctr" horzOverflow="overflow">
                    <a:gradFill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5400000" scaled="0"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>
            <a:off x="-2428924" y="1571612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rgbClr val="FF000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285720" y="1526198"/>
          <a:ext cx="8643997" cy="4836583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286412"/>
                <a:gridCol w="928694"/>
                <a:gridCol w="571504"/>
                <a:gridCol w="571504"/>
                <a:gridCol w="642942"/>
                <a:gridCol w="642941"/>
              </a:tblGrid>
              <a:tr h="21917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8649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8274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граждан, которым предоставлены меры социальной поддержки в общей численности граждан, обратившихся и имеющих право на их получение в соответствии с законодательством Российской Федерации и законодательством Ставропольского кра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тношение численности третьих или последующих детей, родившихся в семьях, проживающих на территории города, в отчетном финансовом году, к численности детей указанной категории, родившихся в году, предшествующем отчетному году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-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0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57150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семей, получающих субсидии на оплату жилого помещения и коммунальных услуг, в общем количестве семей, проживающих на территории город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доступных для инвалидов и других маломобильных групп населения приоритетных объектов социальной, транспортной, инженерной инфраструктуры в общем количестве приоритетных объект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5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</a:t>
                      </a: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реконструированных учреждений культуры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6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6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368" marR="43368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64294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енность детей-сирот и детей, оставшихся без попечения родителей, переданных на воспитание в семьи граждан Российской Федерации, постоянно проживающих на территории Российской Федерации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1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620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воспитывающихся в замещающих семьях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8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8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8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2</a:t>
                      </a: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19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исло детей, нуждающихся в определении в семью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2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14" marR="43414" marT="0" marB="0" anchor="ctr" horzOverflow="overflow">
                    <a:gradFill flip="none" rotWithShape="1">
                      <a:gsLst>
                        <a:gs pos="0">
                          <a:srgbClr val="B2FC9E">
                            <a:shade val="30000"/>
                            <a:satMod val="115000"/>
                          </a:srgbClr>
                        </a:gs>
                        <a:gs pos="50000">
                          <a:srgbClr val="B2FC9E">
                            <a:shade val="67500"/>
                            <a:satMod val="115000"/>
                          </a:srgbClr>
                        </a:gs>
                        <a:gs pos="100000">
                          <a:srgbClr val="B2FC9E">
                            <a:shade val="100000"/>
                            <a:satMod val="115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Социальная поддержка населения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7" name="Rectangle 2"/>
          <p:cNvSpPr>
            <a:spLocks noChangeArrowheads="1"/>
          </p:cNvSpPr>
          <p:nvPr/>
        </p:nvSpPr>
        <p:spPr bwMode="auto">
          <a:xfrm>
            <a:off x="500034" y="1000108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7" name="Rectangle 51"/>
          <p:cNvSpPr>
            <a:spLocks noChangeArrowheads="1"/>
          </p:cNvSpPr>
          <p:nvPr/>
        </p:nvSpPr>
        <p:spPr bwMode="auto">
          <a:xfrm>
            <a:off x="428625" y="357188"/>
            <a:ext cx="83820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900" b="1" cap="all" dirty="0">
              <a:solidFill>
                <a:srgbClr val="660033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Times New Roman" pitchFamily="18" charset="0"/>
            </a:endParaRP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/>
        </p:nvGraphicFramePr>
        <p:xfrm>
          <a:off x="357158" y="1714487"/>
          <a:ext cx="8520142" cy="4761562"/>
        </p:xfrm>
        <a:graphic>
          <a:graphicData uri="http://schemas.openxmlformats.org/drawingml/2006/table">
            <a:tbl>
              <a:tblPr>
                <a:tableStyleId>{2D5ABB26-0587-4C30-8999-92F81FD0307C}</a:tableStyleId>
              </a:tblPr>
              <a:tblGrid>
                <a:gridCol w="2620205"/>
                <a:gridCol w="964053"/>
                <a:gridCol w="1102472"/>
                <a:gridCol w="854946"/>
                <a:gridCol w="1104101"/>
                <a:gridCol w="936368"/>
                <a:gridCol w="937997"/>
              </a:tblGrid>
              <a:tr h="214315">
                <a:tc rowSpan="2">
                  <a:txBody>
                    <a:bodyPr/>
                    <a:lstStyle/>
                    <a:p>
                      <a:pPr marL="0" marR="0" lvl="0" indent="80963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оказатель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8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Отч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19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0 год</a:t>
                      </a: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Прогноз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5719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rgbClr val="92D050"/>
                        </a:gs>
                        <a:gs pos="50000">
                          <a:srgbClr val="9CB86E"/>
                        </a:gs>
                        <a:gs pos="100000">
                          <a:srgbClr val="156B13"/>
                        </a:gs>
                      </a:gsLst>
                      <a:lin ang="5400000"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1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2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23 го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horzOverflow="overflow"/>
                </a:tc>
              </a:tr>
              <a:tr h="51373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Население, тыс. ч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2,56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3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34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,35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4,5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5,09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54368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вестиции в основной капитал, млн.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97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099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46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91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171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601,00</a:t>
                      </a:r>
                    </a:p>
                  </a:txBody>
                  <a:tcPr marL="60158" marR="60158" marT="0" marB="0" anchor="ctr" horzOverflow="overflow"/>
                </a:tc>
              </a:tr>
              <a:tr h="86964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Индекс физического объема инвестиций в основной капитал, %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1,08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05,11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64,1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0,0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0,0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0,31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55077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Фонд заработной платы, млн. руб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59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589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661,6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742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838,00</a:t>
                      </a: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959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43482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Уровень безработицы, %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3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4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,6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,25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,52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,2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/>
                </a:tc>
              </a:tr>
              <a:tr h="628076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Среднемесячная заработная плата, руб.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 925,2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 907,00</a:t>
                      </a: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1 590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2 318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3 189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4 199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  <a:tr h="64932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smtClean="0">
                          <a:ln>
                            <a:noFill/>
                          </a:ln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Ввод в действие жилых домов, тыс. кв. м в общей площади</a:t>
                      </a:r>
                      <a:endParaRPr kumimoji="0" lang="ru-RU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8,8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0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5,3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2,93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,60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1,47</a:t>
                      </a:r>
                      <a:endParaRPr kumimoji="0" lang="ru-RU" sz="1400" b="1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0158" marR="60158" marT="0" marB="0" anchor="ctr" horzOverflow="overflow"/>
                </a:tc>
              </a:tr>
            </a:tbl>
          </a:graphicData>
        </a:graphic>
      </p:graphicFrame>
      <p:sp>
        <p:nvSpPr>
          <p:cNvPr id="6" name="AutoShape 2"/>
          <p:cNvSpPr>
            <a:spLocks noChangeArrowheads="1"/>
          </p:cNvSpPr>
          <p:nvPr/>
        </p:nvSpPr>
        <p:spPr bwMode="auto">
          <a:xfrm>
            <a:off x="78578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 Основные показатели социально-экономического развития города-курорта Железноводска Ставропольского края в соответствии с прогнозом социально-экономического развития города-курорта Железноводска Ставропольского края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571800" y="1500174"/>
            <a:ext cx="8496300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45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23529" y="1380150"/>
          <a:ext cx="8573131" cy="5179723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644172"/>
                <a:gridCol w="500066"/>
                <a:gridCol w="571504"/>
                <a:gridCol w="642942"/>
                <a:gridCol w="642942"/>
                <a:gridCol w="571505"/>
              </a:tblGrid>
              <a:tr h="1312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4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428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081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использованию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60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реализации муниципального имуще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52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по арендной плате за земельные участки, а также средств от продажи права на заключение договоров аренды за земл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оперативном управления органов местного самоуправл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03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сдачи в аренду имущества, находящегося в муниципальной собственности (казн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выполнения плановых назначений от перечисления части прибыли, остающейся после уплаты налогов и иных обязательных платежей муниципальных унитарны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204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Доля площади земельных участков, являющихся объектами налогообложения земельным налогом, в общей площади территории городского округ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в соответствии с планами работ, утвержденными администрацией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ыполнение плановых назначений по площади земельных участков, предоставленных для строительства в расчете на 10 тыс. человек населени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4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4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4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54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 том числе земельных участков, предоставляемых для жилищного строительства, индивидуального строительства и комплексного освоения в целях жилищного  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га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3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3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3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0,13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004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в соответствие с планом работы управления имущественных отношений администрации 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875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исполнения плана проверок при  реализации внутриведомственного контрол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59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своевременно представленных отраслевыми (функциональными) органами администрации города-курорта Железноводска Ставропольского края отчет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%</a:t>
                      </a: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chemeClr val="accent6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6">
                            <a:lumMod val="60000"/>
                            <a:lumOff val="40000"/>
                            <a:shade val="67500"/>
                            <a:satMod val="115000"/>
                          </a:schemeClr>
                        </a:gs>
                        <a:gs pos="100000">
                          <a:schemeClr val="accent6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Управление имуществом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286048" y="1785926"/>
            <a:ext cx="9001125" cy="5969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68613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85780" y="1431272"/>
          <a:ext cx="8643937" cy="5258492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5111169"/>
                <a:gridCol w="826820"/>
                <a:gridCol w="676487"/>
                <a:gridCol w="676487"/>
                <a:gridCol w="676487"/>
                <a:gridCol w="676487"/>
              </a:tblGrid>
              <a:tr h="16676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2265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920750" algn="l"/>
                          <a:tab pos="1011238" algn="l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696" marR="42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242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населения города-курорта Желез­новодска Ставрополь­ского края, системати­чески занимающихся физической культурой и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388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спортивного резерва и команд в городе-курорте Железноводске Ставропольского края, в том числе среди инвалид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спортивными зала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 на 10тыс. 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32,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35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авательными бассей­нам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 на 10тыс. 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,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2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обеспеченность города-курорта Железноводска Ставропольского края плоскостными соору­жениями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 на 10тыс. населения города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284" marR="39284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0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спортивно-массовых мероприя­тий, участие в краевых и всероссийских меро­приятиях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174625" marR="0" lvl="0" indent="-174625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57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енность спортсме­нов, получивших спор­тивный разряд на ко­личество населения, занимающихся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143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подготовки и проведения спортивно-массовых мероприят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53696" marR="53696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431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город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участник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8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4511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всероссийских и краевы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участник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4735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дельный вес инвалидов города-курорта Железноводска Ставропольского края, систематически занимающихся физической культурой и спорто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от общего числа инвалидов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6699FF">
                            <a:tint val="66000"/>
                            <a:satMod val="160000"/>
                          </a:srgbClr>
                        </a:gs>
                        <a:gs pos="50000">
                          <a:srgbClr val="6699FF">
                            <a:tint val="44500"/>
                            <a:satMod val="160000"/>
                          </a:srgbClr>
                        </a:gs>
                        <a:gs pos="100000">
                          <a:srgbClr val="6699FF">
                            <a:tint val="23500"/>
                            <a:satMod val="160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285852" y="142852"/>
            <a:ext cx="7643866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Развитие физической культуры и спорт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4755" name="Rectangle 2"/>
          <p:cNvSpPr>
            <a:spLocks noChangeArrowheads="1"/>
          </p:cNvSpPr>
          <p:nvPr/>
        </p:nvSpPr>
        <p:spPr bwMode="auto">
          <a:xfrm>
            <a:off x="-2214610" y="228599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030A0"/>
              </a:solidFill>
            </a:endParaRPr>
          </a:p>
        </p:txBody>
      </p:sp>
      <p:sp>
        <p:nvSpPr>
          <p:cNvPr id="7475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179510" y="1434061"/>
          <a:ext cx="8678769" cy="4799519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5761525"/>
                <a:gridCol w="583449"/>
                <a:gridCol w="583449"/>
                <a:gridCol w="583449"/>
                <a:gridCol w="583449"/>
                <a:gridCol w="583448"/>
              </a:tblGrid>
              <a:tr h="2667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измере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02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425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ой градостроительной документации на территории города-курорта Железноводск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ea typeface="Arial Unicode MS" pitchFamily="34" charset="-128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637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рректировка генерального плана городского округа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501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утвержденных проектов планировки территории, схем планировочной организации земельных участк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973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разработанных и утвержденных нормативных правовых актов сфере градостроительной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1509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униципальных служащих, повысивших квалификацию в области градостроительной деятель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981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оцифрованных архивных топографических материалов (планшетов М 1:500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к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2591" marR="42591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629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улучшивших жилищные условия, в  том числе с помощью ипотечных жилищных кредитов (займов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5316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не имеющих детей или имеющих одного или двух детей, а также неполных молодых семей края, состоящих из одного молодого родителя и одного или двух детей, получивших свидетельства (извещения) о праве на получение социальной выплаты на приобретение (строительство) жилого помещ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6280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ых семей, имеющих трех и более детей, получивших извещения о праве на получение социальной выплат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 семе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9670" marR="3967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14"/>
            <a:ext cx="7715304" cy="114300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градостроительства, строительства и архитектуры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500034" y="1071546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-2928990" y="1571612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endParaRPr lang="ru-RU" sz="17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7680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357158" y="1285860"/>
          <a:ext cx="8429682" cy="3309172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372399"/>
                <a:gridCol w="783919"/>
                <a:gridCol w="627135"/>
                <a:gridCol w="548743"/>
                <a:gridCol w="548743"/>
                <a:gridCol w="548743"/>
              </a:tblGrid>
              <a:tr h="18503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0958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1923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культурно-массовых мероприятий, проводимых муниципальными учреждениями культуры города-курорта Железноводска Ставропольского края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2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7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4659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участников клубных формирований (в том числе любительских объединений и формирований самодеятельного народного творчества)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17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2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2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2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960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Количество человек, принявших участие в культурно-массовых мероприятиях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Тыс.чел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0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193,8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</a:rPr>
                        <a:t>201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43" marR="43543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4341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пользователей централизованной библиотечной системы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4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6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4218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экземпляров библиотечного фонда в централизованной библиотечной системе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экземпляров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7,9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8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8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8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2975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сещений централизованной библиотечной системы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6,3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9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2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2,0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  <a:tr h="35768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новых поступлений в библиотечный фонд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4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522" marR="43522" marT="0" marB="0" anchor="ctr" horzOverflow="overflow">
                    <a:gradFill flip="none" rotWithShape="1">
                      <a:gsLst>
                        <a:gs pos="0">
                          <a:srgbClr val="00B050">
                            <a:tint val="66000"/>
                            <a:satMod val="160000"/>
                          </a:srgbClr>
                        </a:gs>
                        <a:gs pos="50000">
                          <a:srgbClr val="00B050">
                            <a:tint val="44500"/>
                            <a:satMod val="160000"/>
                          </a:srgbClr>
                        </a:gs>
                        <a:gs pos="100000">
                          <a:srgbClr val="00B050">
                            <a:tint val="23500"/>
                            <a:satMod val="160000"/>
                          </a:srgbClr>
                        </a:gs>
                      </a:gsLst>
                      <a:path path="circle">
                        <a:fillToRect l="100000" t="100000"/>
                      </a:path>
                      <a:tileRect r="-100000" b="-100000"/>
                    </a:gradFill>
                  </a:tcPr>
                </a:tc>
              </a:tr>
            </a:tbl>
          </a:graphicData>
        </a:graphic>
      </p:graphicFrame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785818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</a:t>
            </a:r>
            <a:r>
              <a:rPr lang="ru-RU" sz="1800" b="1" dirty="0" smtClean="0">
                <a:solidFill>
                  <a:schemeClr val="bg1"/>
                </a:solidFill>
                <a:latin typeface="Times New Roman"/>
              </a:rPr>
              <a:t>«Культура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79875" name="Rectangle 2"/>
          <p:cNvSpPr>
            <a:spLocks noChangeArrowheads="1"/>
          </p:cNvSpPr>
          <p:nvPr/>
        </p:nvSpPr>
        <p:spPr bwMode="auto">
          <a:xfrm>
            <a:off x="-2571800" y="2357430"/>
            <a:ext cx="9001125" cy="857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660033"/>
              </a:solidFill>
            </a:endParaRPr>
          </a:p>
        </p:txBody>
      </p:sp>
      <p:sp>
        <p:nvSpPr>
          <p:cNvPr id="7987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323528" y="1204052"/>
          <a:ext cx="8534753" cy="5595150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5320042"/>
                <a:gridCol w="714380"/>
                <a:gridCol w="714380"/>
                <a:gridCol w="642942"/>
                <a:gridCol w="571504"/>
                <a:gridCol w="571505"/>
              </a:tblGrid>
              <a:tr h="1658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528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3643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емп роста выручки от реализации товаров, выполнения работ и оказания услуг малых и средних пред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 </a:t>
                      </a:r>
                      <a:r>
                        <a:rPr kumimoji="0" lang="ru-RU" sz="10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-дущ</a:t>
                      </a:r>
                      <a:r>
                        <a:rPr kumimoji="0" lang="ru-RU" sz="10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,3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,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05,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74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исленность занятых в сфере малого и среднего предпринимательства, включая индивидуальных предпринимателей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человек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 452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280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828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 828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102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субъектов малого и среднего предпринимательств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52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627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>
                        <a:spcAft>
                          <a:spcPts val="0"/>
                        </a:spcAft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681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 681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110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среднесписочной численности работников (без внешних совместителей) малых и средних предприятий в среднесписочной численности работников (без внешних совместителей) всех предприятий и организац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о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7,6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8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,5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9,5</a:t>
                      </a:r>
                      <a:endParaRPr kumimoji="0" lang="ru-RU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6718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субъектов малого и среднего предпринимательства в расчете на 10 тыс. 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80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9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4,4</a:t>
                      </a: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614,4</a:t>
                      </a:r>
                      <a:endParaRPr kumimoji="0" lang="ru-RU" sz="1200" u="none" strike="noStrike" kern="1200" cap="none" normalizeH="0" baseline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818514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ность населения города на 1000 жителей: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орговыми площадям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садочными местами в предприятиях общественного питания в общедоступной сети;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ытовыми услугами (рабочих мест предприятий бытового обслуживания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-ц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Ед-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60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6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6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62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63,0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37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763,0</a:t>
                      </a: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7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313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Темп роста оборота общественного питания к предыдущему году в действующих ценах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,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3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4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4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6945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Индекс  оборота розничной торговли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2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3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3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283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туристов, посетивших город-курорт Железноводск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тыс. чел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2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1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7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7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9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Увеличение количества койко-мест в коллективных средствах размещения               города-курорта Железноводска Ставропольского края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38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75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85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85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0768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ботающих в санаторно-курортной и туристско-рекреационной сфере города–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12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4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5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7602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специалистов, прошедших обучение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840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Количество участников ежегодного городского конкурса на лучшую организацию работы по охране труда</a:t>
                      </a: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935" marR="43935" marT="0" marB="0" anchor="ctr" horzOverflow="overflow">
                    <a:gradFill flip="none" rotWithShape="1">
                      <a:gsLst>
                        <a:gs pos="0">
                          <a:schemeClr val="accent2">
                            <a:lumMod val="40000"/>
                            <a:lumOff val="60000"/>
                            <a:shade val="30000"/>
                            <a:satMod val="115000"/>
                          </a:schemeClr>
                        </a:gs>
                        <a:gs pos="50000">
                          <a:schemeClr val="accent2">
                            <a:lumMod val="40000"/>
                            <a:lumOff val="60000"/>
                            <a:shade val="67500"/>
                            <a:satMod val="115000"/>
                          </a:schemeClr>
                        </a:gs>
                        <a:gs pos="100000">
                          <a:schemeClr val="accent2">
                            <a:lumMod val="40000"/>
                            <a:lumOff val="6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14"/>
            <a:ext cx="7643866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экономик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928670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1923" name="Rectangle 2"/>
          <p:cNvSpPr>
            <a:spLocks noChangeArrowheads="1"/>
          </p:cNvSpPr>
          <p:nvPr/>
        </p:nvSpPr>
        <p:spPr bwMode="auto">
          <a:xfrm>
            <a:off x="-2786114" y="1428736"/>
            <a:ext cx="9001125" cy="5000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78B832"/>
              </a:solidFill>
            </a:endParaRPr>
          </a:p>
        </p:txBody>
      </p:sp>
      <p:sp>
        <p:nvSpPr>
          <p:cNvPr id="8192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85780" y="1268225"/>
          <a:ext cx="8572500" cy="5666441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5591316"/>
                <a:gridCol w="521707"/>
                <a:gridCol w="670766"/>
                <a:gridCol w="596245"/>
                <a:gridCol w="596233"/>
                <a:gridCol w="596233"/>
              </a:tblGrid>
              <a:tr h="16023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0463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территории города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020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благоустроенной территории муниципального образования, на которой проводятся мероприятия по благоустройств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335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ротяженности сетей водоотведения на территории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обращений граждан по вопросам благоустройства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28037" marR="28037" marT="0" marB="0" anchor="ctr" horzOverflow="overflow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0436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ротяженность сетей водоотведения на территории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м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ts val="1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/>
                        <a:t>134,0</a:t>
                      </a:r>
                      <a:endParaRPr lang="ru-RU" sz="1200" dirty="0" smtClean="0">
                        <a:latin typeface="+mn-lt"/>
                        <a:ea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34,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0047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ой территории Курортного парка города-курорта Железноводска Ставропольского края, на которой проводятся мероприятия по благоустройству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57 2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ой территории городского парка имени Станислава Говорухина, на которой проводятся мероприятия по благоустройству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 45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08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благоустроенных территорий муниципального образования, на которых проводятся мероприятия по благоустройству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.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96 268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96 26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37705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обращений граждан по вопросам благоустройства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7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6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6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6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2509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Площадь улиц и проездов, находящихся на территории муниципального образования, обеспеченных освещение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кв.к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 ,8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 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9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2478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Общая площадь улиц и проездов, находящихся на территории муниципального образовани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кв.км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 </a:t>
                      </a:r>
                      <a:r>
                        <a:rPr lang="ru-RU" sz="1200" dirty="0" smtClean="0"/>
                        <a:t>,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 </a:t>
                      </a:r>
                      <a:r>
                        <a:rPr lang="ru-RU" sz="1200" dirty="0" smtClean="0"/>
                        <a:t>,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,</a:t>
                      </a:r>
                      <a:r>
                        <a:rPr lang="ru-RU" sz="1200" dirty="0"/>
                        <a:t> </a:t>
                      </a:r>
                      <a:r>
                        <a:rPr lang="ru-RU" sz="1200" dirty="0" smtClean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8940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Сокращение потребления электрической энергии на 1 кв. метр освещаемой территории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кВт/ч/кв.м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0,01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0,0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7053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Доля замененных оконных блоков в общем количестве оконных блоков, требующих замены в образовательных учреждениях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68,1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0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4637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доли образовательных организаций со стопроцентной заменой оконных блоков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Times New Roman"/>
                          <a:cs typeface="Times New Roman"/>
                        </a:rPr>
                        <a:t>%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5322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установленных энергоэффективных светильников на улицах и проездах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2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9759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установленных энергоэффективных светильников в административных зданиях города-курорта Железноводска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шт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3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1361">
                <a:tc>
                  <a:txBody>
                    <a:bodyPr/>
                    <a:lstStyle/>
                    <a:p>
                      <a:pPr algn="just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потребляемой электрической энергии на освещаемой территории улиц и проездов, находящихся на территории муниципального образования, в год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Вт/ч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1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,1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1,16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0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1,1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ctr">
                    <a:gradFill flip="none" rotWithShape="1">
                      <a:gsLst>
                        <a:gs pos="0">
                          <a:schemeClr val="accent4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4">
                            <a:lumMod val="60000"/>
                            <a:lumOff val="40000"/>
                            <a:shade val="67500"/>
                            <a:satMod val="115000"/>
                            <a:alpha val="63000"/>
                          </a:schemeClr>
                        </a:gs>
                        <a:gs pos="100000">
                          <a:schemeClr val="accent4">
                            <a:lumMod val="60000"/>
                            <a:lumOff val="40000"/>
                            <a:shade val="100000"/>
                            <a:satMod val="11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142976" y="71438"/>
            <a:ext cx="7643866" cy="7857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4996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428596" y="1643050"/>
          <a:ext cx="8418512" cy="5163282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5572133"/>
                <a:gridCol w="488956"/>
                <a:gridCol w="706423"/>
                <a:gridCol w="558800"/>
                <a:gridCol w="560388"/>
                <a:gridCol w="531812"/>
              </a:tblGrid>
              <a:tr h="117220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1009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5706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Протяженность автомобильных дорог общего пользования местного значения на территории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30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867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тяженность автомобильных дорог общего пользования местного значения не отвечающих нормативным требованиям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b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дорожно-транспортных происшествий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раненых при дорожно-транспортных происшествиях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окращение количества погибших при дорожно-транспортных происшествиях относительно предыдущего г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2927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 автомобильных дорог муниципального значения прошедших паспоритизацию объекта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193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дорожно-транспортных происшествий, зарегистрированных на автомобильных дорогах муниципального значения, из-за сопутствующих дорожных условий в общем количестве дорожно-транспортных происшествий в городе-курорте Железноводске 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8841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пострадав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страдав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7045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 погибших в результате дорожно-транспортных происшествий, зарегистрированных на автомобильных дорогах муниципального значения, из за сопутствующих дорожных условий в общем количестве погибших в результате дорожно-транспортных происшествий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2862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протяженности автомобильных дорог общего пользования местного значения в границах города-курорта Железноводска Ставропольского края и искусственных сооружений на них приведенных в нормативное состояни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7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лощадь территории, города-курорта Железноводска, на которой проводятся мероприятия по борьбе с  воздействием опасных для экологии факторов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в. м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   15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7 0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6396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жаров в лесных массивах, относящихся к городу-курорту Железноводску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713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жегодная ликвидация стихийных свалок на территории муниципального образования город-курорт Железноводск 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430" marR="36430" marT="0" marB="0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4548" marR="44548" marT="0" marB="0" anchor="ctr" horzOverflow="overflow">
                    <a:gradFill flip="none" rotWithShape="1">
                      <a:gsLst>
                        <a:gs pos="0">
                          <a:srgbClr val="FFC000">
                            <a:shade val="30000"/>
                            <a:satMod val="115000"/>
                          </a:srgbClr>
                        </a:gs>
                        <a:gs pos="50000">
                          <a:srgbClr val="FFC000">
                            <a:shade val="67500"/>
                            <a:satMod val="115000"/>
                            <a:alpha val="53000"/>
                          </a:srgbClr>
                        </a:gs>
                        <a:gs pos="100000">
                          <a:srgbClr val="FFC000">
                            <a:shade val="100000"/>
                            <a:satMod val="115000"/>
                            <a:alpha val="48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5163" name="Rectangle 2"/>
          <p:cNvSpPr>
            <a:spLocks noChangeArrowheads="1"/>
          </p:cNvSpPr>
          <p:nvPr/>
        </p:nvSpPr>
        <p:spPr bwMode="auto">
          <a:xfrm>
            <a:off x="142875" y="0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6699"/>
              </a:solidFill>
            </a:endParaRPr>
          </a:p>
        </p:txBody>
      </p:sp>
      <p:sp>
        <p:nvSpPr>
          <p:cNvPr id="10" name="AutoShape 2"/>
          <p:cNvSpPr>
            <a:spLocks noChangeArrowheads="1"/>
          </p:cNvSpPr>
          <p:nvPr/>
        </p:nvSpPr>
        <p:spPr bwMode="auto">
          <a:xfrm>
            <a:off x="1000100" y="71438"/>
            <a:ext cx="7929618" cy="12144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9" name="Rectangle 2"/>
          <p:cNvSpPr>
            <a:spLocks noChangeArrowheads="1"/>
          </p:cNvSpPr>
          <p:nvPr/>
        </p:nvSpPr>
        <p:spPr bwMode="auto">
          <a:xfrm>
            <a:off x="647700" y="1214425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8704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3333FF"/>
              </a:solidFill>
            </a:endParaRPr>
          </a:p>
        </p:txBody>
      </p:sp>
      <p:sp>
        <p:nvSpPr>
          <p:cNvPr id="8704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/>
        </p:nvGraphicFramePr>
        <p:xfrm>
          <a:off x="214282" y="1214422"/>
          <a:ext cx="8715439" cy="5566682"/>
        </p:xfrm>
        <a:graphic>
          <a:graphicData uri="http://schemas.openxmlformats.org/drawingml/2006/table">
            <a:tbl>
              <a:tblPr>
                <a:tableStyleId>{35758FB7-9AC5-4552-8A53-C91805E547FA}</a:tableStyleId>
              </a:tblPr>
              <a:tblGrid>
                <a:gridCol w="6143668"/>
                <a:gridCol w="714380"/>
                <a:gridCol w="428628"/>
                <a:gridCol w="428628"/>
                <a:gridCol w="428628"/>
                <a:gridCol w="571507"/>
              </a:tblGrid>
              <a:tr h="11555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9259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u="none" strike="noStrike" cap="none" normalizeH="0" baseline="0" dirty="0" smtClean="0">
                        <a:ln>
                          <a:noFill/>
                        </a:ln>
                        <a:effectLst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ие повышения уровня защищенности объектов и мест с массовым пребыванием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51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города-курорта Железноводска Ставропольского края в рамках мероприятий по обеспечению безопасности города-курорта Железноводс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убль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7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623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еспечение повышения уровня защищенности объектов и мест с массовым пребыванием граждан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мещение информационных материалов на объектах с массовым пребыванием граждан о действиях в случае совершения актов террористической направленности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снащенность системами видеонаблюдения муниципальных образовательных учреждений, объектов культурного и социально-бытового назначения и мест наибольшего нахождения граждан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cs typeface="+mn-cs"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95687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вышение уровня взаимодействия экстренных оперативных служб города через единый номер 1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7139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семинаров и совещаний, круглых столов и собраний по вопросам профилактики терроризма и экстремизма с учащимися образовательных учреждений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>
                          <a:tab pos="500063" algn="ctr"/>
                        </a:tabLst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7614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нижение уровня совершенных преступлений 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 к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ре-дыд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год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,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ведение встреч и бесед с учащимися образовательных учреждений по вопросам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 высших учебных заведениях конкурсов по тематике профилактики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 профилактике правонарушен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антитеррористической направлен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8889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численности казаков муниципальной казачьей дружины, привлекаемых для участия в оказании содействия правоохранительным органам по охране общественного порядк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962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величение количества рейдов казаков с офицерским составом полиции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8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9629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детей, занимающихся в военно-патриотическом клубе «Русичи» 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ивлечение детей к проведению мероприятий, направленных на пропаганду казачьей истории (конкурс рисунков, конкурс на лучший реферат, конкурс на лучшее стихотворение)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0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67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92595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убликация в средствах массовой информации материалов посвященных казачеству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43" marR="43243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1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</a:t>
                      </a:r>
                      <a:endParaRPr kumimoji="0" lang="ru-RU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200" marR="43200" marT="0" marB="0" anchor="ctr" horzOverflow="overflow">
                    <a:gradFill flip="none" rotWithShape="1">
                      <a:gsLst>
                        <a:gs pos="0">
                          <a:schemeClr val="accent5">
                            <a:lumMod val="60000"/>
                            <a:lumOff val="40000"/>
                            <a:shade val="30000"/>
                            <a:satMod val="115000"/>
                          </a:schemeClr>
                        </a:gs>
                        <a:gs pos="50000">
                          <a:schemeClr val="accent5">
                            <a:lumMod val="60000"/>
                            <a:lumOff val="40000"/>
                            <a:shade val="67500"/>
                            <a:satMod val="115000"/>
                            <a:alpha val="57000"/>
                          </a:schemeClr>
                        </a:gs>
                        <a:gs pos="100000">
                          <a:schemeClr val="accent5">
                            <a:lumMod val="60000"/>
                            <a:lumOff val="40000"/>
                            <a:shade val="100000"/>
                            <a:satMod val="115000"/>
                            <a:alpha val="35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142852"/>
            <a:ext cx="7858180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Создание условий безопасной жизни населения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3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011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9011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2" y="1214420"/>
          <a:ext cx="8715433" cy="5565507"/>
        </p:xfrm>
        <a:graphic>
          <a:graphicData uri="http://schemas.openxmlformats.org/drawingml/2006/table">
            <a:tbl>
              <a:tblPr>
                <a:tableStyleId>{775DCB02-9BB8-47FD-8907-85C794F793BA}</a:tableStyleId>
              </a:tblPr>
              <a:tblGrid>
                <a:gridCol w="6215105"/>
                <a:gridCol w="684252"/>
                <a:gridCol w="454019"/>
                <a:gridCol w="454019"/>
                <a:gridCol w="454019"/>
                <a:gridCol w="454019"/>
              </a:tblGrid>
              <a:tr h="14774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-ца      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изм-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9172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1168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разработанных и реализованных нормативных правовых актов города-курорта Железноводска Ставропольского края, регулирующих вопросы муниципальной службы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и прохождение муниципальными служащими администрации города-курорта Железноводска Ставропольского края, её отраслевых (функциональных) органов дополнительного профессионального образ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исло выявленных или предупрежденных коррупционных правонарушений со стороны муниципальных служащих администрации города-курорта Железноводска Ставропольского края, её отраслевых (функциональных) органов и структурных подразделени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4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нормативных правовых актов города-курорта Железноводска Ставропольского края, регулирующих вопросы противодействия коррупции на муниципальной службе в соответствии с законодательством Российской Федерации, законодательством Ставропольского края;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, изготовление и распространение печатной продукции антикоррупционного содержани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37589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работка и реализация планов мероприятий по противодействию коррупции в отраслевых (функциональных) органах администрации города-курорта Железноводска Ставропольского края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шт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8345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рганизация взаимодействия администрации города-курорта Железноводска Ставропольского края с организациями, общественными объединениями и населением города-курорта Железноводска Ставропольского края по вопросам противодействия коррупции (проведение «круглых столов»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-во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мероприятий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97962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органами местного самоуправления города-курорта Железноводска Ставропольского края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удовлетворенных качеством государственных и муниципальных услуг, предоставляемых на базе многофункционального центра, от общего числа заявителей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5194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доля заявителей, использующих механизм получения государственных и муниципальных услуг в городе-курорте Железноводске Ставропольского края в электронной форме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%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130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выпущенных в эфир теле- радиопрограмм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4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917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выпусков общественно-политического еженедельника «Железноводские ведомости»;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3402" marR="43402" marT="0" marB="0" anchor="ctr" horzOverflow="overflow">
                    <a:gradFill flip="none" rotWithShape="1">
                      <a:gsLst>
                        <a:gs pos="0">
                          <a:srgbClr val="FF7C80">
                            <a:shade val="30000"/>
                            <a:satMod val="115000"/>
                          </a:srgbClr>
                        </a:gs>
                        <a:gs pos="50000">
                          <a:srgbClr val="FF7C80">
                            <a:shade val="67500"/>
                            <a:satMod val="115000"/>
                            <a:alpha val="61000"/>
                          </a:srgbClr>
                        </a:gs>
                        <a:gs pos="100000">
                          <a:srgbClr val="FF7C80">
                            <a:shade val="100000"/>
                            <a:satMod val="115000"/>
                            <a:alpha val="57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928662" y="142852"/>
            <a:ext cx="7858180" cy="64294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Открытость и эффективность работы администрации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647700" y="857233"/>
            <a:ext cx="8496300" cy="2143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5235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7575"/>
              </a:solidFill>
            </a:endParaRPr>
          </a:p>
        </p:txBody>
      </p:sp>
      <p:sp>
        <p:nvSpPr>
          <p:cNvPr id="95237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/>
        </p:nvGraphicFramePr>
        <p:xfrm>
          <a:off x="214283" y="1381135"/>
          <a:ext cx="8715435" cy="5063699"/>
        </p:xfrm>
        <a:graphic>
          <a:graphicData uri="http://schemas.openxmlformats.org/drawingml/2006/table">
            <a:tbl>
              <a:tblPr>
                <a:tableStyleId>{69C7853C-536D-4A76-A0AE-DD22124D55A5}</a:tableStyleId>
              </a:tblPr>
              <a:tblGrid>
                <a:gridCol w="5643601"/>
                <a:gridCol w="857256"/>
                <a:gridCol w="571504"/>
                <a:gridCol w="500066"/>
                <a:gridCol w="571504"/>
                <a:gridCol w="571504"/>
              </a:tblGrid>
              <a:tr h="261915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ница       изме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503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веденных культурных мероприятий, направленных на создание условий для совершенствования досуга молодежи, профилактики потенциальных явлений в молодежной среде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9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70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молодежи, задействованной в проведении мероприятий по реализации молодежной политики в городе-курорте Железноводске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48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5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стоящих на учете в комиссии по делам несовершеннолетних и защите их прав администрац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703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несовершеннолетних, оказавшихся в трудной жизненной ситуации для предоставления адресной материальной помощ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4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нижение уровня подростковой преступности на территории города-курорта Железноводска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79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0</a:t>
                      </a: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8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5118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рофилактических мероприя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ероприя-тий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5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7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вовлеченных в профилактические мероприят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6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7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8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84781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Количество подростков и молодежи, занимающихся физической культурой и спортом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Кол-во</a:t>
                      </a:r>
                      <a:b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</a:b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человек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2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3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014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640626"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Увеличение количества несовершеннолетних, добровольно прошедших тестирование на предмет немедицинского употребления наркотических веществ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smtClean="0">
                          <a:ln>
                            <a:noFill/>
                          </a:ln>
                          <a:effectLst/>
                        </a:rPr>
                        <a:t>проценты</a:t>
                      </a: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1485" marR="41485" marT="0" marB="0" anchor="ctr" horzOverflow="overflow">
                    <a:gradFill flip="none" rotWithShape="1">
                      <a:gsLst>
                        <a:gs pos="0">
                          <a:srgbClr val="00CC99">
                            <a:shade val="30000"/>
                            <a:satMod val="115000"/>
                          </a:srgbClr>
                        </a:gs>
                        <a:gs pos="50000">
                          <a:srgbClr val="00CC99">
                            <a:shade val="67500"/>
                            <a:satMod val="115000"/>
                            <a:alpha val="50000"/>
                          </a:srgbClr>
                        </a:gs>
                        <a:gs pos="100000">
                          <a:srgbClr val="00CC99">
                            <a:shade val="100000"/>
                            <a:satMod val="115000"/>
                            <a:alpha val="44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071538" y="71414"/>
            <a:ext cx="7858180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Молодежь города-курорта Железноводска Ставропольского края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10" name="Rectangle 2"/>
          <p:cNvSpPr>
            <a:spLocks noChangeArrowheads="1"/>
          </p:cNvSpPr>
          <p:nvPr/>
        </p:nvSpPr>
        <p:spPr bwMode="auto">
          <a:xfrm>
            <a:off x="647700" y="928673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18" name="Скругленный прямоугольник 17"/>
          <p:cNvSpPr/>
          <p:nvPr/>
        </p:nvSpPr>
        <p:spPr>
          <a:xfrm>
            <a:off x="1214414" y="1857364"/>
            <a:ext cx="7162800" cy="78581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Концентрация ресурсов на достижение целей, показателей и результатов муниципальных программ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1214414" y="3929066"/>
            <a:ext cx="7162800" cy="1143008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Обеспечение открытости и 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озрачности бюджетного процесса, доступности информации о муниципальных финансах города, </a:t>
            </a: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асширение практики общественного участия при обсуждении и принятии бюджетных 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решений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928662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бюджетн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214414" y="3071810"/>
            <a:ext cx="7162800" cy="571504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18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риоритизация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и повышение эффективности расходования бюджетных средств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85720" y="200024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85720" y="307181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285720" y="4214818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1214414" y="5500702"/>
            <a:ext cx="7162800" cy="71438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anchor="ctr"/>
          <a:lstStyle/>
          <a:p>
            <a:pPr algn="just"/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недрение принципов инициативного </a:t>
            </a:r>
            <a:r>
              <a:rPr lang="ru-RU" sz="1800" dirty="0" err="1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бюджетирования</a:t>
            </a: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" name="Овал 13"/>
          <p:cNvSpPr/>
          <p:nvPr/>
        </p:nvSpPr>
        <p:spPr>
          <a:xfrm>
            <a:off x="285720" y="557214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6"/>
          </a:fillRef>
          <a:effectRef idx="1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97283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FF00FF"/>
              </a:solidFill>
            </a:endParaRPr>
          </a:p>
        </p:txBody>
      </p:sp>
      <p:sp>
        <p:nvSpPr>
          <p:cNvPr id="97285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5718" y="1285861"/>
          <a:ext cx="8501122" cy="5309245"/>
        </p:xfrm>
        <a:graphic>
          <a:graphicData uri="http://schemas.openxmlformats.org/drawingml/2006/table">
            <a:tbl>
              <a:tblPr>
                <a:tableStyleId>{284E427A-3D55-4303-BF80-6455036E1DE7}</a:tableStyleId>
              </a:tblPr>
              <a:tblGrid>
                <a:gridCol w="3847170"/>
                <a:gridCol w="641195"/>
                <a:gridCol w="721344"/>
                <a:gridCol w="721344"/>
                <a:gridCol w="641195"/>
                <a:gridCol w="641195"/>
                <a:gridCol w="641195"/>
                <a:gridCol w="646484"/>
              </a:tblGrid>
              <a:tr h="176828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Еди-ница изме-ре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6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Значение индикатор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45109" marR="45109" marT="0" marB="0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26316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19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4 г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68580" marR="68580" marT="0" marB="0" anchor="ctr" horzOverflow="overflow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52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благоустроенных общественных территорий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28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10526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благоустроенных дворовых территорий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 anchor="b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2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3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/>
                        <a:t>50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6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>
                          <a:latin typeface="+mn-lt"/>
                          <a:ea typeface="+mn-ea"/>
                          <a:cs typeface="+mn-cs"/>
                        </a:rPr>
                        <a:t>7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53363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Количество граждан, вовлеченных в реализацию </a:t>
                      </a:r>
                      <a:r>
                        <a:rPr lang="ru-RU" sz="1200" dirty="0" smtClean="0"/>
                        <a:t>мероприятий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3 94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5 2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6 5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8 7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0 9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13 11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704240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Объем привлеченных из федерального и краевого бюджетов субсидий и иных межбюджетных трансфертов на 1 рубль финансирования средств бюджета </a:t>
                      </a:r>
                      <a:r>
                        <a:rPr lang="ru-RU" sz="1200" dirty="0" smtClean="0"/>
                        <a:t>города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руб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18,96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,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общественных территорий в городе-курорте Железноводске Ставропольского края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ед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 6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4 9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 3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7 35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0 3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</a:t>
                      </a:r>
                      <a:r>
                        <a:rPr lang="ru-RU" sz="1200" dirty="0" smtClean="0"/>
                        <a:t>12 41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98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общественных территорий в городе-курорте </a:t>
                      </a:r>
                      <a:r>
                        <a:rPr lang="ru-RU" sz="1200" dirty="0" smtClean="0"/>
                        <a:t>Железноводске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числа граждан, вовлеченных в реализацию мероприятий по благоустройству общественных территорий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2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8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28801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Увеличение количества благоустроенных дворовых территорий в городе-курорте Железноводске Ставропольского края 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 dirty="0"/>
                        <a:t>ед.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2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9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5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4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3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+7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58984">
                <a:tc>
                  <a:txBody>
                    <a:bodyPr/>
                    <a:lstStyle/>
                    <a:p>
                      <a:pPr algn="just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Увеличение числа граждан, вовлеченных в реализацию мероприятий по благоустройству дворовых территорий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ts val="1200"/>
                        </a:lnSpc>
                        <a:spcAft>
                          <a:spcPts val="0"/>
                        </a:spcAft>
                      </a:pPr>
                      <a:r>
                        <a:rPr lang="ru-RU" sz="1200"/>
                        <a:t>чел.</a:t>
                      </a:r>
                      <a:endParaRPr lang="ru-RU" sz="120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12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3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4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5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/>
                        <a:t>+6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dirty="0" smtClean="0"/>
                        <a:t>+700</a:t>
                      </a:r>
                      <a:endParaRPr lang="ru-RU" sz="1200" dirty="0">
                        <a:latin typeface="+mn-lt"/>
                        <a:ea typeface="Times New Roman"/>
                        <a:cs typeface="Times New Roman"/>
                      </a:endParaRPr>
                    </a:p>
                  </a:txBody>
                  <a:tcPr marL="68580" marR="68580" marT="0" marB="0">
                    <a:gradFill flip="none" rotWithShape="1">
                      <a:gsLst>
                        <a:gs pos="0">
                          <a:srgbClr val="FFCCFF">
                            <a:shade val="30000"/>
                            <a:satMod val="115000"/>
                          </a:srgbClr>
                        </a:gs>
                        <a:gs pos="50000">
                          <a:srgbClr val="FFCCFF">
                            <a:shade val="67500"/>
                            <a:satMod val="115000"/>
                          </a:srgbClr>
                        </a:gs>
                        <a:gs pos="100000">
                          <a:srgbClr val="FFCCFF">
                            <a:shade val="100000"/>
                            <a:satMod val="115000"/>
                          </a:srgb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1142976" y="214290"/>
            <a:ext cx="7858180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Муниципальная программа города-курорта Железноводска Ставропольского края «Формирование современной городской среды»</a:t>
            </a:r>
            <a:endParaRPr lang="ru-RU" sz="1800" b="1" dirty="0">
              <a:solidFill>
                <a:schemeClr val="bg1"/>
              </a:solidFill>
            </a:endParaRPr>
          </a:p>
        </p:txBody>
      </p:sp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647700" y="857232"/>
            <a:ext cx="8496300" cy="3571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>
              <a:defRPr/>
            </a:pPr>
            <a:r>
              <a:rPr lang="ru-RU" sz="1600" b="1" dirty="0" smtClean="0">
                <a:solidFill>
                  <a:schemeClr val="tx2">
                    <a:lumMod val="75000"/>
                  </a:schemeClr>
                </a:solidFill>
              </a:rPr>
              <a:t>Основные целевые индикаторы программы</a:t>
            </a:r>
            <a:endParaRPr lang="ru-RU" sz="1700" b="1" dirty="0">
              <a:solidFill>
                <a:schemeClr val="tx2">
                  <a:lumMod val="75000"/>
                </a:schemeClr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179512" y="1124744"/>
          <a:ext cx="8784976" cy="5039282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81114"/>
                <a:gridCol w="2278397"/>
                <a:gridCol w="1239684"/>
                <a:gridCol w="1166756"/>
                <a:gridCol w="145844"/>
                <a:gridCol w="510455"/>
                <a:gridCol w="510454"/>
                <a:gridCol w="437532"/>
                <a:gridCol w="1093831"/>
                <a:gridCol w="1020909"/>
              </a:tblGrid>
              <a:tr h="51282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сирова-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19658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12822">
                <a:tc gridSpan="10">
                  <a:txBody>
                    <a:bodyPr/>
                    <a:lstStyle/>
                    <a:p>
                      <a:pPr algn="ctr"/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юджетные инвестиции в объекты капитального строительства муниципальной собственности города-курорта Железноводска Ставропольского края и (или) на приобретение объектов недвижимого имущества в муниципальную собственность города-курорта  Железноводска Ставропольского края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586228">
                <a:tc gridSpan="10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униципальная программа города-курорта Железноводска Ставропольского края «Развитие образования в городе-курорте Железноводске Ставропольского края» (ответственный исполнитель – управление образования администрации города-курорта Железноводска Ставропольского края)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209337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троительство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объекта «Средняя  </a:t>
                      </a:r>
                      <a:r>
                        <a:rPr kumimoji="0" lang="ru-RU" sz="12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бщеобразова-тельная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школа на 500 мест в жилом районе Капельница, города-курорта Железноводска, Ставропольского края»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500 мест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822"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/>
                </a:tc>
              </a:tr>
              <a:tr h="3076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3,1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3,1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769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,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5128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Ставропольского кра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64294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1 год и плановый период 2022 и 2023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58" y="1214422"/>
          <a:ext cx="8572500" cy="454700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142875"/>
                <a:gridCol w="500063"/>
                <a:gridCol w="500062"/>
                <a:gridCol w="428625"/>
                <a:gridCol w="220663"/>
                <a:gridCol w="850900"/>
                <a:gridCol w="1000125"/>
              </a:tblGrid>
              <a:tr h="63040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211534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30882">
                <a:tc gridSpan="11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Подраздел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униципальная программа города-курорта Железноводска Ставропольского края «Развитие жилищно-коммунального хозяйства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99970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риобретение благоустроенного жилого помещения в муниципальную собственность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администрация города-курорта     Железноводска Ставропольского края 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города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 квартира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1403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 </a:t>
                      </a: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1307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1,6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142852"/>
            <a:ext cx="7643866" cy="714380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1 год и плановый период 2022 и 2023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411732"/>
          <a:ext cx="8572500" cy="4232574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642938"/>
                <a:gridCol w="500062"/>
                <a:gridCol w="428625"/>
                <a:gridCol w="1071563"/>
                <a:gridCol w="1000125"/>
              </a:tblGrid>
              <a:tr h="786419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млн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05826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4865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II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Муниципальная программа города-курорта Железноводска Ставропольского края «Развитие транспортной системы и охрана окружающей среды в городе-курорте Железноводске Ставропольского края» (ответственный исполнитель – Управление городского хозяйства администрации города-курорта Железноводска Ставропольского края)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70204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асходы на строительство (реконструкцию, техническое перевооружение) дорожных объектов муниципальной собственности 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 </a:t>
                      </a:r>
                      <a:r>
                        <a:rPr kumimoji="0" lang="ru-RU" sz="12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остановоч-ных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пункта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08154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908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1 год и плановый период 2022 и 2023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1379" name="Rectangle 2"/>
          <p:cNvSpPr>
            <a:spLocks noChangeArrowheads="1"/>
          </p:cNvSpPr>
          <p:nvPr/>
        </p:nvSpPr>
        <p:spPr bwMode="auto">
          <a:xfrm>
            <a:off x="142875" y="142875"/>
            <a:ext cx="9001125" cy="714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ctr"/>
          <a:lstStyle/>
          <a:p>
            <a:pPr algn="ctr"/>
            <a:endParaRPr lang="ru-RU" sz="1700" b="1" dirty="0">
              <a:solidFill>
                <a:srgbClr val="00B050"/>
              </a:solidFill>
            </a:endParaRPr>
          </a:p>
        </p:txBody>
      </p:sp>
      <p:sp>
        <p:nvSpPr>
          <p:cNvPr id="101380" name="Rectangle 92"/>
          <p:cNvSpPr>
            <a:spLocks noChangeArrowheads="1"/>
          </p:cNvSpPr>
          <p:nvPr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anchor="ctr">
            <a:spAutoFit/>
          </a:bodyPr>
          <a:lstStyle/>
          <a:p>
            <a:endParaRPr lang="ru-RU"/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/>
        </p:nvGraphicFramePr>
        <p:xfrm>
          <a:off x="357188" y="1411732"/>
          <a:ext cx="8572500" cy="4901410"/>
        </p:xfrm>
        <a:graphic>
          <a:graphicData uri="http://schemas.openxmlformats.org/drawingml/2006/table">
            <a:tbl>
              <a:tblPr>
                <a:tableStyleId>{3C2FFA5D-87B4-456A-9821-1D502468CF0F}</a:tableStyleId>
              </a:tblPr>
              <a:tblGrid>
                <a:gridCol w="339725"/>
                <a:gridCol w="2303451"/>
                <a:gridCol w="1285884"/>
                <a:gridCol w="1000127"/>
                <a:gridCol w="642938"/>
                <a:gridCol w="500062"/>
                <a:gridCol w="428625"/>
                <a:gridCol w="1071563"/>
                <a:gridCol w="1000125"/>
              </a:tblGrid>
              <a:tr h="773832"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№ 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/</a:t>
                      </a:r>
                      <a:r>
                        <a:rPr kumimoji="0" lang="ru-RU" sz="1200" u="none" strike="noStrike" cap="none" normalizeH="0" baseline="0" dirty="0" err="1" smtClean="0">
                          <a:ln>
                            <a:noFill/>
                          </a:ln>
                          <a:effectLst/>
                        </a:rPr>
                        <a:t>п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основного мероприятия или мероприятия, объекта капитального строительства и (или) объекта недвижимого имуще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Наименование главного распорядителя средств бюджета города-курорта Железноводска Ставропольского края 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сточник финан-сирования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Объем бюджетных ассигнований по годам (тыс. рублей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Мощность объекта капитального строительства, подлежащая (подлежащей) вводу в эксплуатацию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рок ввода в эксплуатацию объекта капитального строительства срок подготовки проектной документа -ци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104132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2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4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3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43473">
                <a:tc gridSpan="9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IV</a:t>
                      </a: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. Муниципальная программа «Развитие транспортной системы и охраны окружающей среды в городе-курорте Железноводске Ставропольского края» (ответственный исполнитель – Управление городского хозяйства)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69474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4.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Строительство (реконструкция, техническое перевооружение) дорожных объектов муниципальной собственности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Управление городского хозяйств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3 остановочных пункт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2020 год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230518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Итого по разделу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сего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4576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1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303422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Всего по городской адресной инвестиционной программе: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34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1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15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В том числе: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бюджет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 города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,0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,4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cs typeface="Times New Roman" pitchFamily="18" charset="0"/>
                        </a:rPr>
                        <a:t>0,1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  <a:tr h="461579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бюджет </a:t>
                      </a:r>
                      <a:r>
                        <a:rPr kumimoji="0" lang="ru-RU" sz="120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Ставрополь-ского</a:t>
                      </a: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края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29,8</a:t>
                      </a: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u="none" strike="noStrike" cap="none" normalizeH="0" baseline="0" dirty="0" smtClean="0">
                          <a:ln>
                            <a:noFill/>
                          </a:ln>
                          <a:effectLst/>
                        </a:rPr>
                        <a:t>0,00</a:t>
                      </a: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+mn-lt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Times New Roman" pitchFamily="18" charset="0"/>
                      </a:endParaRPr>
                    </a:p>
                  </a:txBody>
                  <a:tcPr marL="36821" marR="36821" marT="0" marB="0" anchor="ctr" horzOverflow="overflow">
                    <a:gradFill flip="none" rotWithShape="1">
                      <a:gsLst>
                        <a:gs pos="0">
                          <a:schemeClr val="accent1">
                            <a:tint val="66000"/>
                            <a:satMod val="160000"/>
                          </a:schemeClr>
                        </a:gs>
                        <a:gs pos="50000">
                          <a:schemeClr val="accent1">
                            <a:tint val="44500"/>
                            <a:satMod val="160000"/>
                          </a:schemeClr>
                        </a:gs>
                        <a:gs pos="100000">
                          <a:schemeClr val="accent1">
                            <a:tint val="23500"/>
                            <a:satMod val="160000"/>
                          </a:schemeClr>
                        </a:gs>
                      </a:gsLst>
                      <a:lin ang="8100000" scaled="1"/>
                      <a:tileRect/>
                    </a:gradFill>
                  </a:tcPr>
                </a:tc>
              </a:tr>
            </a:tbl>
          </a:graphicData>
        </a:graphic>
      </p:graphicFrame>
      <p:sp>
        <p:nvSpPr>
          <p:cNvPr id="8" name="AutoShape 2"/>
          <p:cNvSpPr>
            <a:spLocks noChangeArrowheads="1"/>
          </p:cNvSpPr>
          <p:nvPr/>
        </p:nvSpPr>
        <p:spPr bwMode="auto">
          <a:xfrm>
            <a:off x="1214414" y="214290"/>
            <a:ext cx="7643866" cy="857256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Городская адресная инвестиционная программа </a:t>
            </a:r>
          </a:p>
          <a:p>
            <a:pPr algn="ctr"/>
            <a:r>
              <a:rPr lang="ru-RU" sz="1800" b="1" dirty="0" smtClean="0">
                <a:solidFill>
                  <a:schemeClr val="bg1"/>
                </a:solidFill>
              </a:rPr>
              <a:t>на 2021 год и плановый период 2022 и 2023 годов</a:t>
            </a:r>
            <a:endParaRPr lang="ru-RU" sz="1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0" y="0"/>
            <a:ext cx="9144000" cy="6865305"/>
          </a:xfrm>
          <a:prstGeom prst="rect">
            <a:avLst/>
          </a:prstGeom>
          <a:noFill/>
        </p:spPr>
      </p:pic>
      <p:sp>
        <p:nvSpPr>
          <p:cNvPr id="25607" name="Text Box 7"/>
          <p:cNvSpPr txBox="1">
            <a:spLocks noChangeArrowheads="1"/>
          </p:cNvSpPr>
          <p:nvPr/>
        </p:nvSpPr>
        <p:spPr bwMode="auto">
          <a:xfrm>
            <a:off x="7643834" y="1714488"/>
            <a:ext cx="1243013" cy="3365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eaLnBrk="1" hangingPunct="1"/>
            <a:r>
              <a:rPr lang="ru-RU" sz="1600" b="1" dirty="0"/>
              <a:t>млн.рублей</a:t>
            </a:r>
          </a:p>
        </p:txBody>
      </p:sp>
      <p:pic>
        <p:nvPicPr>
          <p:cNvPr id="10" name="Picture 6"/>
          <p:cNvPicPr>
            <a:picLocks noChangeAspect="1" noChangeArrowheads="1"/>
          </p:cNvPicPr>
          <p:nvPr>
            <p:custDataLst>
              <p:tags r:id="rId1"/>
            </p:custDataLst>
          </p:nvPr>
        </p:nvPicPr>
        <p:blipFill>
          <a:blip r:embed="rId5" cstate="print">
            <a:duotone>
              <a:prstClr val="black"/>
              <a:schemeClr val="accent3">
                <a:tint val="45000"/>
                <a:satMod val="400000"/>
              </a:schemeClr>
            </a:duotone>
          </a:blip>
          <a:srcRect/>
          <a:stretch>
            <a:fillRect/>
          </a:stretch>
        </p:blipFill>
        <p:spPr bwMode="auto">
          <a:xfrm rot="11809208">
            <a:off x="3328217" y="1691173"/>
            <a:ext cx="5260589" cy="15513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scene3d>
            <a:camera prst="orthographicFront">
              <a:rot lat="0" lon="10800000" rev="0"/>
            </a:camera>
            <a:lightRig rig="threePt" dir="t"/>
          </a:scene3d>
        </p:spPr>
      </p:pic>
      <p:sp>
        <p:nvSpPr>
          <p:cNvPr id="11" name="AutoShape 2"/>
          <p:cNvSpPr>
            <a:spLocks noChangeArrowheads="1"/>
          </p:cNvSpPr>
          <p:nvPr/>
        </p:nvSpPr>
        <p:spPr bwMode="auto">
          <a:xfrm>
            <a:off x="1428728" y="142852"/>
            <a:ext cx="7215238" cy="100013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Уровень долговой нагрузки на бюджет </a:t>
            </a:r>
          </a:p>
          <a:p>
            <a:pPr algn="ctr">
              <a:defRPr/>
            </a:pPr>
            <a:r>
              <a:rPr lang="ru-RU" b="1" dirty="0" smtClean="0">
                <a:solidFill>
                  <a:schemeClr val="bg1"/>
                </a:solidFill>
              </a:rPr>
              <a:t>города-курорта Железноводска Ставропольского края</a:t>
            </a:r>
            <a:endParaRPr lang="ru-RU" dirty="0" smtClean="0">
              <a:solidFill>
                <a:schemeClr val="bg1"/>
              </a:solidFill>
            </a:endParaRPr>
          </a:p>
          <a:p>
            <a:pPr algn="ctr">
              <a:defRPr/>
            </a:pP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42844" y="5000636"/>
            <a:ext cx="8858312" cy="1714512"/>
          </a:xfrm>
          <a:prstGeom prst="roundRect">
            <a:avLst/>
          </a:prstGeom>
          <a:solidFill>
            <a:schemeClr val="accent1">
              <a:alpha val="62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 2020 году осуществлено погашение банковского кредита в сумме 5,0 млн. рублей, бюджетного кредита  в сумме 3,3 млн. рублей</a:t>
            </a:r>
          </a:p>
          <a:p>
            <a:pPr algn="just"/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 состоянию на 01.01.202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1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г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., на 01.01.2022 г.0 на 01.01.2023 г.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и на 01.01.2024 г. 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задолженност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ь</a:t>
            </a:r>
            <a:r>
              <a:rPr lang="x-none" sz="160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бюджета города-курорта Железноводска Ставропольского края</a:t>
            </a:r>
            <a:r>
              <a:rPr lang="ru-RU" sz="16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 по муниципальному внутреннему долгу отсутствует.</a:t>
            </a:r>
            <a:endParaRPr lang="ru-RU" sz="16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6" name="Содержимое 15"/>
          <p:cNvGraphicFramePr>
            <a:graphicFrameLocks noGrp="1"/>
          </p:cNvGraphicFramePr>
          <p:nvPr>
            <p:ph/>
            <p:custDataLst>
              <p:tags r:id="rId2"/>
            </p:custDataLst>
            <p:extLst>
              <p:ext uri="{D42A27DB-BD31-4B8C-83A1-F6EECF244321}">
                <p14:modId xmlns="" xmlns:p14="http://schemas.microsoft.com/office/powerpoint/2010/main" val="1418681561"/>
              </p:ext>
            </p:extLst>
          </p:nvPr>
        </p:nvGraphicFramePr>
        <p:xfrm>
          <a:off x="251520" y="1268760"/>
          <a:ext cx="8501122" cy="4000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3652"/>
            <a:ext cx="9144000" cy="6865305"/>
          </a:xfrm>
          <a:prstGeom prst="rect">
            <a:avLst/>
          </a:prstGeom>
          <a:noFill/>
        </p:spPr>
      </p:pic>
      <p:sp>
        <p:nvSpPr>
          <p:cNvPr id="10" name="Rectangle 8"/>
          <p:cNvSpPr txBox="1">
            <a:spLocks noChangeArrowheads="1"/>
          </p:cNvSpPr>
          <p:nvPr/>
        </p:nvSpPr>
        <p:spPr bwMode="auto">
          <a:xfrm>
            <a:off x="785786" y="1071546"/>
            <a:ext cx="7929619" cy="52101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anchor="ctr"/>
          <a:lstStyle/>
          <a:p>
            <a:pPr algn="ctr">
              <a:defRPr/>
            </a:pPr>
            <a:r>
              <a:rPr lang="ru-RU" sz="3200" b="1" dirty="0">
                <a:solidFill>
                  <a:schemeClr val="bg1"/>
                </a:solidFill>
              </a:rPr>
              <a:t>Контактная информация </a:t>
            </a:r>
          </a:p>
          <a:p>
            <a:pPr algn="ctr">
              <a:defRPr/>
            </a:pPr>
            <a:endParaRPr lang="ru-RU" sz="1400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ru-RU" sz="3200" i="1" dirty="0">
                <a:solidFill>
                  <a:schemeClr val="bg1"/>
                </a:solidFill>
              </a:rPr>
              <a:t>Финансового управления администрации города-курорта Железноводска Ставропольского края</a:t>
            </a:r>
          </a:p>
          <a:p>
            <a:pPr>
              <a:defRPr/>
            </a:pPr>
            <a:endParaRPr lang="ru-RU" sz="3200" b="1" dirty="0">
              <a:solidFill>
                <a:schemeClr val="bg1"/>
              </a:solidFill>
            </a:endParaRPr>
          </a:p>
          <a:p>
            <a:pPr marL="1160463" indent="-1160463"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:</a:t>
            </a:r>
            <a:r>
              <a:rPr lang="ru-RU" sz="2400" dirty="0">
                <a:solidFill>
                  <a:schemeClr val="bg1"/>
                </a:solidFill>
              </a:rPr>
              <a:t> 357401, Ставропольский край, г. Железноводск,  </a:t>
            </a:r>
          </a:p>
          <a:p>
            <a:pPr marL="1160463" indent="-173038">
              <a:defRPr/>
            </a:pPr>
            <a:r>
              <a:rPr lang="ru-RU" sz="2400" dirty="0">
                <a:solidFill>
                  <a:schemeClr val="bg1"/>
                </a:solidFill>
              </a:rPr>
              <a:t>ул. Ленина, д.1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Телефон: </a:t>
            </a:r>
            <a:r>
              <a:rPr lang="ru-RU" sz="2400" dirty="0">
                <a:solidFill>
                  <a:schemeClr val="bg1"/>
                </a:solidFill>
              </a:rPr>
              <a:t>(879-32) 4-30-85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Факс:</a:t>
            </a:r>
            <a:r>
              <a:rPr lang="ru-RU" sz="2400" dirty="0">
                <a:solidFill>
                  <a:schemeClr val="bg1"/>
                </a:solidFill>
              </a:rPr>
              <a:t> (879-32) 3-15-02</a:t>
            </a:r>
          </a:p>
          <a:p>
            <a:pPr>
              <a:defRPr/>
            </a:pPr>
            <a:r>
              <a:rPr lang="ru-RU" sz="2400" b="1" dirty="0">
                <a:solidFill>
                  <a:schemeClr val="bg1"/>
                </a:solidFill>
              </a:rPr>
              <a:t>Адрес электронной почты:</a:t>
            </a:r>
            <a:r>
              <a:rPr lang="ru-RU" sz="2400" dirty="0">
                <a:solidFill>
                  <a:schemeClr val="bg1"/>
                </a:solidFill>
              </a:rPr>
              <a:t> </a:t>
            </a:r>
            <a:r>
              <a:rPr lang="ru-RU" sz="2400" dirty="0" err="1">
                <a:solidFill>
                  <a:schemeClr val="bg1"/>
                </a:solidFill>
              </a:rPr>
              <a:t>zhelfin@mail.ru</a:t>
            </a:r>
            <a:r>
              <a:rPr lang="ru-RU" sz="2400" dirty="0">
                <a:solidFill>
                  <a:schemeClr val="bg1"/>
                </a:solidFill>
              </a:rPr>
              <a:t> </a:t>
            </a:r>
          </a:p>
          <a:p>
            <a:pPr>
              <a:defRPr/>
            </a:pPr>
            <a:r>
              <a:rPr lang="ru-RU" sz="2800" dirty="0">
                <a:solidFill>
                  <a:srgbClr val="660033"/>
                </a:solidFill>
              </a:rPr>
              <a:t> 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214290"/>
            <a:ext cx="9144000" cy="6865305"/>
          </a:xfrm>
          <a:prstGeom prst="rect">
            <a:avLst/>
          </a:prstGeom>
          <a:noFill/>
        </p:spPr>
      </p:pic>
      <p:sp>
        <p:nvSpPr>
          <p:cNvPr id="24" name="Скругленный прямоугольник 23"/>
          <p:cNvSpPr/>
          <p:nvPr/>
        </p:nvSpPr>
        <p:spPr>
          <a:xfrm>
            <a:off x="1214414" y="2143116"/>
            <a:ext cx="7162800" cy="1066800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ддержка инвестиционной  и инновационной активности хозяйствующих субъектов, осуществляющих деятельность на территории города-курорта Железноводска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1285852" y="4786322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i="1" dirty="0">
                <a:solidFill>
                  <a:schemeClr val="tx1"/>
                </a:solidFill>
              </a:rPr>
              <a:t> </a:t>
            </a: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вышение эффективности управления муниципальными активами.</a:t>
            </a:r>
          </a:p>
        </p:txBody>
      </p:sp>
      <p:sp>
        <p:nvSpPr>
          <p:cNvPr id="29" name="Скругленный прямоугольник 28"/>
          <p:cNvSpPr/>
          <p:nvPr/>
        </p:nvSpPr>
        <p:spPr>
          <a:xfrm>
            <a:off x="1285852" y="5857892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Совершенствование налогового администрирования.</a:t>
            </a:r>
          </a:p>
        </p:txBody>
      </p:sp>
      <p:sp>
        <p:nvSpPr>
          <p:cNvPr id="9" name="AutoShape 2"/>
          <p:cNvSpPr>
            <a:spLocks noChangeArrowheads="1"/>
          </p:cNvSpPr>
          <p:nvPr/>
        </p:nvSpPr>
        <p:spPr bwMode="auto">
          <a:xfrm>
            <a:off x="785786" y="214290"/>
            <a:ext cx="7786742" cy="1357322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налогов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7" name="Овал 6"/>
          <p:cNvSpPr/>
          <p:nvPr/>
        </p:nvSpPr>
        <p:spPr>
          <a:xfrm>
            <a:off x="285720" y="2428868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0" name="Овал 9"/>
          <p:cNvSpPr/>
          <p:nvPr/>
        </p:nvSpPr>
        <p:spPr>
          <a:xfrm>
            <a:off x="285720" y="4786322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285720" y="5857892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285720" y="3786190"/>
            <a:ext cx="500066" cy="500066"/>
          </a:xfrm>
          <a:prstGeom prst="ellipse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1214414" y="3786190"/>
            <a:ext cx="7162800" cy="500066"/>
          </a:xfrm>
          <a:prstGeom prst="roundRect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anchor="ctr"/>
          <a:lstStyle/>
          <a:p>
            <a:pPr marL="87313" lvl="1">
              <a:tabLst>
                <a:tab pos="6719888" algn="l"/>
                <a:tab pos="6908800" algn="l"/>
              </a:tabLst>
              <a:defRPr/>
            </a:pPr>
            <a:r>
              <a:rPr lang="ru-RU" sz="1800" dirty="0" smtClean="0">
                <a:solidFill>
                  <a:schemeClr val="tx1"/>
                </a:solidFill>
              </a:rPr>
              <a:t>Оценка эффективности налоговых расходов бюджета города.</a:t>
            </a:r>
            <a:endParaRPr lang="ru-RU" sz="1800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2" descr="Простой синий градиентный светлый фон с ретро-цветом, космос для текста составное изображение, веб-сайт, журнал или графика для рекламной кампании Premium Фотографии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-7305"/>
            <a:ext cx="9144000" cy="6865305"/>
          </a:xfrm>
          <a:prstGeom prst="rect">
            <a:avLst/>
          </a:prstGeom>
          <a:noFill/>
        </p:spPr>
      </p:pic>
      <p:sp>
        <p:nvSpPr>
          <p:cNvPr id="26" name="Скругленный прямоугольник 25"/>
          <p:cNvSpPr/>
          <p:nvPr/>
        </p:nvSpPr>
        <p:spPr>
          <a:xfrm>
            <a:off x="522259" y="1214422"/>
            <a:ext cx="8478897" cy="321471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9366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оддержание объема муниципального долга на оптимальном уровне, в рамках которого предполагается</a:t>
            </a:r>
            <a:r>
              <a:rPr lang="ru-RU" sz="1400" i="1" dirty="0" smtClean="0">
                <a:solidFill>
                  <a:schemeClr val="tx1"/>
                </a:solidFill>
              </a:rPr>
              <a:t>: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Установление и исполнение расходных обязательств города в пределах полномочий, отнесенных к полномочиям органов местного самоуправления; 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Проведение мероприятий, направленных на рост доходной и оптимизацию расходной частей бюджета города и приводящих к сокращению дефицита бюджета города и темпов прироста муниципального долга;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Осуществление мониторинга использования бюджетных ассигнований получателями средств бюджета города в целях своевременного принятия решения о сокращении невостребованных бюджетных ассигнований и объема заимствований при исполнении бюджета города;</a:t>
            </a:r>
          </a:p>
          <a:p>
            <a:pPr marL="9366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Направление остатков средств на едином счете бюджета города, образовавшихся на начало текущего финансового года, и дополнительных доходов, поступивших сверх утвержденных годовых назначений, при исполнении бюджета города на сокращение дефицита бюджета города в целях снижения объема муниципального долга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571472" y="4500570"/>
            <a:ext cx="8501122" cy="914400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87313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Минимизация стоимости обслуживания муниципального долга, в рамках которой </a:t>
            </a:r>
            <a:r>
              <a:rPr lang="ru-RU" sz="1400" i="1" dirty="0" smtClean="0">
                <a:solidFill>
                  <a:schemeClr val="tx1"/>
                </a:solidFill>
              </a:rPr>
              <a:t>предполагается: управление ликвидностью единого счета бюджета города;</a:t>
            </a:r>
          </a:p>
          <a:p>
            <a:pPr marL="87313" lvl="1" algn="just">
              <a:defRPr/>
            </a:pPr>
            <a:r>
              <a:rPr lang="ru-RU" sz="1400" i="1" dirty="0" smtClean="0">
                <a:solidFill>
                  <a:schemeClr val="tx1"/>
                </a:solidFill>
              </a:rPr>
              <a:t>проведение анализа процентных ставок  на рынке кредитов в целях минимизации расходов бюджета; Осуществление заимствований в кредитных организациях;.</a:t>
            </a:r>
            <a:endParaRPr lang="ru-RU" sz="1400" i="1" dirty="0">
              <a:solidFill>
                <a:schemeClr val="tx1"/>
              </a:solidFill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571472" y="5500702"/>
            <a:ext cx="8501122" cy="1301736"/>
          </a:xfrm>
          <a:prstGeom prst="roundRect">
            <a:avLst/>
          </a:prstGeom>
          <a:solidFill>
            <a:schemeClr val="tx2">
              <a:lumMod val="20000"/>
              <a:lumOff val="80000"/>
            </a:schemeClr>
          </a:solidFill>
          <a:ln/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marL="6350" lvl="1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Равномерное распределение платежей, связанных с погашением и обслуживанием муниципального долга, в рамках которого предполагается: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роведение анализа сроков погашения действующих долговых обязательств города-курорта Железноводска Ставропольского края и выявление пиков платежей;</a:t>
            </a:r>
          </a:p>
          <a:p>
            <a:pPr marL="6350" lvl="1" indent="255588" algn="just">
              <a:defRPr/>
            </a:pPr>
            <a:r>
              <a:rPr lang="ru-RU" sz="1400" i="1" dirty="0">
                <a:solidFill>
                  <a:schemeClr val="tx1"/>
                </a:solidFill>
              </a:rPr>
              <a:t>планирование графиков погашения долговых обязательств города-курорта Железноводска Ставропольского края.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4" name="AutoShape 2"/>
          <p:cNvSpPr>
            <a:spLocks noChangeArrowheads="1"/>
          </p:cNvSpPr>
          <p:nvPr/>
        </p:nvSpPr>
        <p:spPr bwMode="auto">
          <a:xfrm>
            <a:off x="642910" y="142852"/>
            <a:ext cx="8286808" cy="928694"/>
          </a:xfrm>
          <a:prstGeom prst="roundRect">
            <a:avLst>
              <a:gd name="adj" fmla="val 16667"/>
            </a:avLst>
          </a:prstGeom>
          <a:noFill/>
          <a:ln w="9525">
            <a:noFill/>
            <a:round/>
            <a:headEnd/>
            <a:tailEnd/>
          </a:ln>
          <a:effectLst/>
          <a:scene3d>
            <a:camera prst="orthographicFront"/>
            <a:lightRig rig="threePt" dir="t"/>
          </a:scene3d>
          <a:sp3d>
            <a:bevelT w="139700" h="139700" prst="divot"/>
          </a:sp3d>
        </p:spPr>
        <p:txBody>
          <a:bodyPr anchor="ctr">
            <a:flatTx/>
          </a:bodyPr>
          <a:lstStyle/>
          <a:p>
            <a:pPr algn="ctr" eaLnBrk="1" hangingPunct="1">
              <a:defRPr/>
            </a:pP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Основные направления долговой политики города-курорта Железноводска Ставропольского края на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1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 и плановый период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2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и </a:t>
            </a:r>
            <a:r>
              <a:rPr lang="ru-RU" b="1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2023 </a:t>
            </a:r>
            <a:r>
              <a:rPr lang="ru-RU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/>
                  </a:outerShdw>
                </a:effectLst>
              </a:rPr>
              <a:t>годов</a:t>
            </a:r>
            <a:endParaRPr lang="ru-RU" b="1" dirty="0">
              <a:ln w="18415" cmpd="sng">
                <a:solidFill>
                  <a:srgbClr val="FFFFFF"/>
                </a:solidFill>
                <a:prstDash val="solid"/>
              </a:ln>
              <a:solidFill>
                <a:schemeClr val="bg1"/>
              </a:solidFill>
              <a:effectLst>
                <a:outerShdw blurRad="63500" dir="3600000" algn="tl" rotWithShape="0">
                  <a:srgbClr val="000000">
                    <a:alpha val="70000"/>
                  </a:srgbClr>
                </a:outerShdw>
              </a:effectLst>
            </a:endParaRPr>
          </a:p>
        </p:txBody>
      </p:sp>
      <p:sp>
        <p:nvSpPr>
          <p:cNvPr id="15" name="Овал 14"/>
          <p:cNvSpPr/>
          <p:nvPr/>
        </p:nvSpPr>
        <p:spPr>
          <a:xfrm>
            <a:off x="71406" y="2500306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1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6" name="Овал 15"/>
          <p:cNvSpPr/>
          <p:nvPr/>
        </p:nvSpPr>
        <p:spPr>
          <a:xfrm>
            <a:off x="71406" y="4857760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2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7" name="Овал 16"/>
          <p:cNvSpPr/>
          <p:nvPr/>
        </p:nvSpPr>
        <p:spPr>
          <a:xfrm>
            <a:off x="71406" y="5929330"/>
            <a:ext cx="500066" cy="500066"/>
          </a:xfrm>
          <a:prstGeom prst="ellipse">
            <a:avLst/>
          </a:prstGeom>
          <a:solidFill>
            <a:schemeClr val="tx2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3</a:t>
            </a:r>
            <a:endParaRPr lang="ru-RU" dirty="0">
              <a:solidFill>
                <a:schemeClr val="tx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54q8xmmXkuXDu3vVnzB3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YRfMevFAk2Iu7NMBA7h_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3vbI7zzaU2kzYqlxBxGx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cDHmp4.Q0S5C_AvqH0p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BjBCpxYYUmsj5qq0vfq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IVQmUag0SpL4VOseeUw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p8z15cxFE.TM.rznaFtL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hH3yAHztEeX9wW.5YKPa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0ydx.d6kuBSHj4BQzHd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nkFJKF6FkiiBjC.x_Hsn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IWOKYEOr0.PAvG4kZId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XAqjsI0eYMS1xcKIww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abmFd6ls0CAMwK31nl05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Vbo6DY8lkSmDE03Gayq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P9x.cBw0WiuTu24k3qQ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Zbp6iLoaEareIU_fKaKa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vi0HOs3QEa5UOfBU7DD4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Cqop4Apf0yIM68gn_Zjv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OgeyQOBXUyDbmhAgJ1BK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YqihVo00GmxSSRELyu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NnGORevqUSFYKeh1O3DY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7HOdLwmt0icgPu_BEzi2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q_4o6wWDkKBtCH2IfY6C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4RXpvIIsEaq.Tkq7jWx7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ddr43wykCMw7G6ia9yp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yXrC3L60EuS6DbAzIxEO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KvAPOzfkuau5um0iUnuA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Поток">
  <a:themeElements>
    <a:clrScheme name="Бумажная">
      <a:dk1>
        <a:sysClr val="windowText" lastClr="000000"/>
      </a:dk1>
      <a:lt1>
        <a:sysClr val="window" lastClr="FFFFFF"/>
      </a:lt1>
      <a:dk2>
        <a:srgbClr val="444D26"/>
      </a:dk2>
      <a:lt2>
        <a:srgbClr val="FEFAC9"/>
      </a:lt2>
      <a:accent1>
        <a:srgbClr val="A5B592"/>
      </a:accent1>
      <a:accent2>
        <a:srgbClr val="F3A447"/>
      </a:accent2>
      <a:accent3>
        <a:srgbClr val="E7BC29"/>
      </a:accent3>
      <a:accent4>
        <a:srgbClr val="D092A7"/>
      </a:accent4>
      <a:accent5>
        <a:srgbClr val="9C85C0"/>
      </a:accent5>
      <a:accent6>
        <a:srgbClr val="809EC2"/>
      </a:accent6>
      <a:hlink>
        <a:srgbClr val="8E58B6"/>
      </a:hlink>
      <a:folHlink>
        <a:srgbClr val="7F6F6F"/>
      </a:folHlink>
    </a:clrScheme>
    <a:fontScheme name="Поток">
      <a:majorFont>
        <a:latin typeface="Calibri"/>
        <a:ea typeface=""/>
        <a:cs typeface=""/>
        <a:font script="Jpan" typeface="ＭＳ Ｐゴシック"/>
        <a:font script="Hang" typeface="HY중고딕"/>
        <a:font script="Hans" typeface="隶书"/>
        <a:font script="Hant" typeface="微軟正黑體"/>
        <a:font script="Arab" typeface="Traditional Arabic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Constantia"/>
        <a:ea typeface=""/>
        <a:cs typeface=""/>
        <a:font script="Jpan" typeface="HGP明朝E"/>
        <a:font script="Hang" typeface="HY신명조"/>
        <a:font script="Hans" typeface="宋体"/>
        <a:font script="Hant" typeface="新細明體"/>
        <a:font script="Arab" typeface="Majalla UI"/>
        <a:font script="Hebr" typeface="David"/>
        <a:font script="Thai" typeface="Browalli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Поток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30000"/>
              </a:schemeClr>
            </a:gs>
            <a:gs pos="43000">
              <a:schemeClr val="phClr">
                <a:tint val="44000"/>
                <a:satMod val="165000"/>
              </a:schemeClr>
            </a:gs>
            <a:gs pos="93000">
              <a:schemeClr val="phClr">
                <a:tint val="15000"/>
                <a:satMod val="165000"/>
              </a:schemeClr>
            </a:gs>
            <a:gs pos="100000">
              <a:schemeClr val="phClr">
                <a:tint val="5000"/>
                <a:satMod val="250000"/>
              </a:schemeClr>
            </a:gs>
          </a:gsLst>
          <a:path path="circle">
            <a:fillToRect l="50000" t="130000" r="50000" b="-30000"/>
          </a:path>
        </a:gradFill>
        <a:gradFill rotWithShape="1">
          <a:gsLst>
            <a:gs pos="0">
              <a:schemeClr val="phClr">
                <a:tint val="98000"/>
                <a:shade val="25000"/>
                <a:satMod val="250000"/>
              </a:schemeClr>
            </a:gs>
            <a:gs pos="68000">
              <a:schemeClr val="phClr">
                <a:tint val="86000"/>
                <a:satMod val="115000"/>
              </a:schemeClr>
            </a:gs>
            <a:gs pos="100000">
              <a:schemeClr val="phClr">
                <a:tint val="50000"/>
                <a:satMod val="150000"/>
              </a:schemeClr>
            </a:gs>
          </a:gsLst>
          <a:path path="circle">
            <a:fillToRect l="50000" t="130000" r="50000" b="-30000"/>
          </a:path>
        </a:gradFill>
      </a:fillStyleLst>
      <a:lnStyleLst>
        <a:ln w="9525" cap="flat" cmpd="sng" algn="ctr">
          <a:solidFill>
            <a:schemeClr val="phClr">
              <a:shade val="50000"/>
              <a:satMod val="103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</a:effectStyle>
        <a:effectStyle>
          <a:effectLst>
            <a:outerShdw blurRad="57150" dist="38100" dir="5400000" algn="ctr" rotWithShape="0">
              <a:schemeClr val="phClr">
                <a:shade val="9000"/>
                <a:satMod val="105000"/>
                <a:alpha val="48000"/>
              </a:schemeClr>
            </a:outerShdw>
          </a:effectLst>
          <a:scene3d>
            <a:camera prst="orthographicFront" fov="0">
              <a:rot lat="0" lon="0" rev="0"/>
            </a:camera>
            <a:lightRig rig="glow" dir="tl">
              <a:rot lat="0" lon="0" rev="900000"/>
            </a:lightRig>
          </a:scene3d>
          <a:sp3d prstMaterial="powder">
            <a:bevelT w="25400" h="381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0000"/>
                <a:satMod val="400000"/>
              </a:schemeClr>
            </a:gs>
            <a:gs pos="25000">
              <a:schemeClr val="phClr">
                <a:tint val="83000"/>
                <a:satMod val="320000"/>
              </a:schemeClr>
            </a:gs>
            <a:gs pos="100000">
              <a:schemeClr val="phClr">
                <a:shade val="15000"/>
                <a:satMod val="320000"/>
              </a:schemeClr>
            </a:gs>
          </a:gsLst>
          <a:path path="circle">
            <a:fillToRect l="10000" t="110000" r="1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50000"/>
              </a:schemeClr>
            </a:duotone>
          </a:blip>
          <a:tile tx="0" ty="0" sx="65000" sy="65000" flip="none" algn="tl"/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Flow</Template>
  <TotalTime>24395</TotalTime>
  <Words>8493</Words>
  <Application>Microsoft Office PowerPoint</Application>
  <PresentationFormat>Экран (4:3)</PresentationFormat>
  <Paragraphs>2575</Paragraphs>
  <Slides>76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76</vt:i4>
      </vt:variant>
    </vt:vector>
  </HeadingPairs>
  <TitlesOfParts>
    <vt:vector size="78" baseType="lpstr">
      <vt:lpstr>Поток</vt:lpstr>
      <vt:lpstr>Worksheet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  <vt:lpstr>Слайд 8</vt:lpstr>
      <vt:lpstr>Слайд 9</vt:lpstr>
      <vt:lpstr>Слайд 10</vt:lpstr>
      <vt:lpstr>Слайд 11</vt:lpstr>
      <vt:lpstr>Слайд 12</vt:lpstr>
      <vt:lpstr>Слайд 13</vt:lpstr>
      <vt:lpstr>Слайд 14</vt:lpstr>
      <vt:lpstr>Слайд 15</vt:lpstr>
      <vt:lpstr>Слайд 16</vt:lpstr>
      <vt:lpstr>Слайд 17</vt:lpstr>
      <vt:lpstr>Слайд 18</vt:lpstr>
      <vt:lpstr>Слайд 19</vt:lpstr>
      <vt:lpstr>Слайд 20</vt:lpstr>
      <vt:lpstr>Слайд 21</vt:lpstr>
      <vt:lpstr>Слайд 22</vt:lpstr>
      <vt:lpstr>Слайд 23</vt:lpstr>
      <vt:lpstr>Слайд 24</vt:lpstr>
      <vt:lpstr>Слайд 25</vt:lpstr>
      <vt:lpstr>Слайд 26</vt:lpstr>
      <vt:lpstr>Слайд 27</vt:lpstr>
      <vt:lpstr>Слайд 28</vt:lpstr>
      <vt:lpstr>Слайд 29</vt:lpstr>
      <vt:lpstr>Слайд 30</vt:lpstr>
      <vt:lpstr>Слайд 31</vt:lpstr>
      <vt:lpstr>Слайд 32</vt:lpstr>
      <vt:lpstr>Слайд 33</vt:lpstr>
      <vt:lpstr>Слайд 34</vt:lpstr>
      <vt:lpstr>Слайд 35</vt:lpstr>
      <vt:lpstr>Слайд 36</vt:lpstr>
      <vt:lpstr>Слайд 37</vt:lpstr>
      <vt:lpstr>Слайд 38</vt:lpstr>
      <vt:lpstr>Слайд 39</vt:lpstr>
      <vt:lpstr>Слайд 40</vt:lpstr>
      <vt:lpstr>Слайд 41</vt:lpstr>
      <vt:lpstr>Слайд 42</vt:lpstr>
      <vt:lpstr>Слайд 43</vt:lpstr>
      <vt:lpstr>Слайд 44</vt:lpstr>
      <vt:lpstr>Слайд 45</vt:lpstr>
      <vt:lpstr>Слайд 46</vt:lpstr>
      <vt:lpstr>Слайд 47</vt:lpstr>
      <vt:lpstr>Слайд 48</vt:lpstr>
      <vt:lpstr>Слайд 49</vt:lpstr>
      <vt:lpstr>Слайд 50</vt:lpstr>
      <vt:lpstr>Слайд 51</vt:lpstr>
      <vt:lpstr>Слайд 52</vt:lpstr>
      <vt:lpstr>Слайд 53</vt:lpstr>
      <vt:lpstr>Слайд 54</vt:lpstr>
      <vt:lpstr>Слайд 55</vt:lpstr>
      <vt:lpstr>Слайд 56</vt:lpstr>
      <vt:lpstr>Слайд 57</vt:lpstr>
      <vt:lpstr>Слайд 58</vt:lpstr>
      <vt:lpstr>Слайд 59</vt:lpstr>
      <vt:lpstr>Слайд 60</vt:lpstr>
      <vt:lpstr>Слайд 61</vt:lpstr>
      <vt:lpstr>Слайд 62</vt:lpstr>
      <vt:lpstr>Слайд 63</vt:lpstr>
      <vt:lpstr>Слайд 64</vt:lpstr>
      <vt:lpstr>Слайд 65</vt:lpstr>
      <vt:lpstr>Слайд 66</vt:lpstr>
      <vt:lpstr>Слайд 67</vt:lpstr>
      <vt:lpstr>Слайд 68</vt:lpstr>
      <vt:lpstr>Слайд 69</vt:lpstr>
      <vt:lpstr>Слайд 70</vt:lpstr>
      <vt:lpstr>Слайд 71</vt:lpstr>
      <vt:lpstr>Слайд 72</vt:lpstr>
      <vt:lpstr>Слайд 73</vt:lpstr>
      <vt:lpstr>Слайд 74</vt:lpstr>
      <vt:lpstr>Слайд 75</vt:lpstr>
      <vt:lpstr>Слайд 76</vt:lpstr>
    </vt:vector>
  </TitlesOfParts>
  <Company>Финуправление г.Железноводс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 NAME</dc:title>
  <dc:creator>ZhBrNG</dc:creator>
  <cp:lastModifiedBy>ZhRibSP</cp:lastModifiedBy>
  <cp:revision>3433</cp:revision>
  <dcterms:created xsi:type="dcterms:W3CDTF">2014-11-25T07:29:51Z</dcterms:created>
  <dcterms:modified xsi:type="dcterms:W3CDTF">2021-06-21T13:32:06Z</dcterms:modified>
</cp:coreProperties>
</file>